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30" r:id="rId4"/>
    <p:sldMasterId id="2147483749" r:id="rId5"/>
  </p:sldMasterIdLst>
  <p:notesMasterIdLst>
    <p:notesMasterId r:id="rId30"/>
  </p:notesMasterIdLst>
  <p:handoutMasterIdLst>
    <p:handoutMasterId r:id="rId31"/>
  </p:handoutMasterIdLst>
  <p:sldIdLst>
    <p:sldId id="421" r:id="rId6"/>
    <p:sldId id="415" r:id="rId7"/>
    <p:sldId id="416" r:id="rId8"/>
    <p:sldId id="417" r:id="rId9"/>
    <p:sldId id="376" r:id="rId10"/>
    <p:sldId id="402" r:id="rId11"/>
    <p:sldId id="406" r:id="rId12"/>
    <p:sldId id="407" r:id="rId13"/>
    <p:sldId id="408" r:id="rId14"/>
    <p:sldId id="418" r:id="rId15"/>
    <p:sldId id="419" r:id="rId16"/>
    <p:sldId id="422" r:id="rId17"/>
    <p:sldId id="414" r:id="rId18"/>
    <p:sldId id="387" r:id="rId19"/>
    <p:sldId id="411" r:id="rId20"/>
    <p:sldId id="412" r:id="rId21"/>
    <p:sldId id="413" r:id="rId22"/>
    <p:sldId id="393" r:id="rId23"/>
    <p:sldId id="394" r:id="rId24"/>
    <p:sldId id="420" r:id="rId25"/>
    <p:sldId id="392" r:id="rId26"/>
    <p:sldId id="395" r:id="rId27"/>
    <p:sldId id="396" r:id="rId28"/>
    <p:sldId id="397" r:id="rId29"/>
  </p:sldIdLst>
  <p:sldSz cx="12188825" cy="6858000"/>
  <p:notesSz cx="6858000" cy="9296400"/>
  <p:embeddedFontLst>
    <p:embeddedFont>
      <p:font typeface="Segoe UI Light" pitchFamily="34" charset="0"/>
      <p:regular r:id="rId32"/>
    </p:embeddedFont>
    <p:embeddedFont>
      <p:font typeface="Segoe UI" pitchFamily="34" charset="0"/>
      <p:regular r:id="rId33"/>
      <p:bold r:id="rId34"/>
      <p:italic r:id="rId35"/>
      <p:boldItalic r:id="rId36"/>
    </p:embeddedFont>
    <p:embeddedFont>
      <p:font typeface="Consolas" pitchFamily="49" charset="0"/>
      <p:regular r:id="rId37"/>
      <p:bold r:id="rId38"/>
      <p:italic r:id="rId39"/>
      <p:boldItalic r:id="rId40"/>
    </p:embeddedFont>
  </p:embeddedFontLst>
  <p:custDataLst>
    <p:tags r:id="rId4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18" autoAdjust="0"/>
    <p:restoredTop sz="96923" autoAdjust="0"/>
  </p:normalViewPr>
  <p:slideViewPr>
    <p:cSldViewPr snapToGrid="0">
      <p:cViewPr varScale="1">
        <p:scale>
          <a:sx n="109" d="100"/>
          <a:sy n="109" d="100"/>
        </p:scale>
        <p:origin x="-276" y="-84"/>
      </p:cViewPr>
      <p:guideLst>
        <p:guide orient="horz" pos="895"/>
        <p:guide orient="horz" pos="719"/>
        <p:guide orient="horz" pos="4176"/>
        <p:guide orient="horz" pos="3946"/>
        <p:guide orient="horz" pos="1068"/>
        <p:guide orient="horz"/>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32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Building And Running HPC Apps In Windows Azure</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0/2011</a:t>
            </a:fld>
            <a:endParaRPr lang="en-US" dirty="0">
              <a:latin typeface="Segoe UI" pitchFamily="34" charset="0"/>
            </a:endParaRPr>
          </a:p>
        </p:txBody>
      </p:sp>
      <p:sp>
        <p:nvSpPr>
          <p:cNvPr id="4" name="Footer Placeholder 3"/>
          <p:cNvSpPr>
            <a:spLocks noGrp="1"/>
          </p:cNvSpPr>
          <p:nvPr>
            <p:ph type="ftr" sz="quarter" idx="2"/>
          </p:nvPr>
        </p:nvSpPr>
        <p:spPr>
          <a:xfrm>
            <a:off x="0" y="8829675"/>
            <a:ext cx="6278880" cy="465138"/>
          </a:xfrm>
          <a:prstGeom prst="rect">
            <a:avLst/>
          </a:prstGeom>
        </p:spPr>
        <p:txBody>
          <a:bodyPr vert="horz" lIns="91440" tIns="45720" rIns="91440" bIns="45720" rtlCol="0" anchor="b"/>
          <a:lstStyle>
            <a:lvl1pPr algn="l">
              <a:defRPr sz="1200"/>
            </a:lvl1pPr>
          </a:lstStyle>
          <a:p>
            <a:r>
              <a:rPr lang="en-US" sz="600" dirty="0">
                <a:solidFill>
                  <a:schemeClr val="tx1">
                    <a:alpha val="99000"/>
                  </a:schemeClr>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600" dirty="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latin typeface="Segoe UI" pitchFamily="34" charset="0"/>
              </a:rPr>
              <a:t>Building And Running HPC Apps In Windows Azure</a:t>
            </a:r>
            <a:endParaRPr lang="en-US" dirty="0">
              <a:latin typeface="Segoe UI" pitchFamily="34" charset="0"/>
            </a:endParaRPr>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6461760" cy="464820"/>
          </a:xfrm>
          <a:prstGeom prst="rect">
            <a:avLst/>
          </a:prstGeom>
        </p:spPr>
        <p:txBody>
          <a:bodyPr vert="horz" lIns="91440" tIns="45720" rIns="91440" bIns="45720" rtlCol="0" anchor="b"/>
          <a:lstStyle>
            <a:lvl1pPr algn="l">
              <a:defRPr sz="1200">
                <a:latin typeface="Segoe UI" pitchFamily="34" charset="0"/>
              </a:defRPr>
            </a:lvl1pPr>
          </a:lstStyle>
          <a:p>
            <a:r>
              <a:rPr lang="en-US" sz="600" dirty="0" smtClean="0">
                <a:solidFill>
                  <a:prstClr val="black">
                    <a:alpha val="99000"/>
                  </a:prstClr>
                </a:solidFill>
              </a:rPr>
              <a:t>© 2011 Microsoft Corporation. All rights reserved. Microsoft, Windows, Windows Vista and other product names are or may be registered trademarks and/or trademarks in the U.S. and/or other countries.</a:t>
            </a:r>
          </a:p>
          <a:p>
            <a:r>
              <a:rPr lang="en-US" sz="600" dirty="0" smtClean="0">
                <a:solidFill>
                  <a:prstClr val="black">
                    <a:alpha val="99000"/>
                  </a:prstClr>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611255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97681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237875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5455752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4285817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260721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7735326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926688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586533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4205874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696143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995468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30412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991347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662620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01150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848001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536113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947310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629044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8478042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01952"/>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pitchFamily="34"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pitchFamily="34" charset="0"/>
              </a:rPr>
              <a:t>© </a:t>
            </a:r>
            <a:r>
              <a:rPr lang="en-US" sz="700" dirty="0" smtClean="0">
                <a:solidFill>
                  <a:schemeClr val="bg1">
                    <a:alpha val="99000"/>
                  </a:schemeClr>
                </a:solidFill>
                <a:latin typeface="Segoe UI" pitchFamily="34" charset="0"/>
                <a:cs typeface="Segoe UI" pitchFamily="34" charset="0"/>
              </a:rPr>
              <a:t>2011 Microsoft </a:t>
            </a:r>
            <a:r>
              <a:rPr lang="en-US" sz="700" dirty="0">
                <a:solidFill>
                  <a:schemeClr val="bg1">
                    <a:alpha val="99000"/>
                  </a:schemeClr>
                </a:solidFill>
                <a:latin typeface="Segoe UI" pitchFamily="34" charset="0"/>
                <a:cs typeface="Segoe UI" pitchFamily="34"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pitchFamily="34"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pitchFamily="34" charset="0"/>
              </a:rPr>
              <a:t>. Because </a:t>
            </a:r>
            <a:r>
              <a:rPr lang="en-US" sz="700" dirty="0">
                <a:solidFill>
                  <a:schemeClr val="bg1">
                    <a:alpha val="99000"/>
                  </a:schemeClr>
                </a:solidFill>
                <a:latin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pitchFamily="34" charset="0"/>
              </a:rPr>
              <a:t>. MICROSOFT </a:t>
            </a:r>
            <a:r>
              <a:rPr lang="en-US" sz="700" dirty="0">
                <a:solidFill>
                  <a:schemeClr val="bg1">
                    <a:alpha val="99000"/>
                  </a:schemeClr>
                </a:solidFill>
                <a:latin typeface="Segoe UI" pitchFamily="34" charset="0"/>
                <a:cs typeface="Segoe UI" pitchFamily="34" charset="0"/>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pitchFamily="34" charset="0"/>
              </a:defRPr>
            </a:lvl1pPr>
          </a:lstStyle>
          <a:p>
            <a:r>
              <a:rPr lang="en-US" dirty="0" smtClean="0"/>
              <a:t>Click to edit Master title style</a:t>
            </a:r>
            <a:endParaRPr lang="en-US" dirty="0"/>
          </a:p>
        </p:txBody>
      </p:sp>
      <p:sp>
        <p:nvSpPr>
          <p:cNvPr id="6" name="Content Placeholder 5"/>
          <p:cNvSpPr>
            <a:spLocks noGrp="1"/>
          </p:cNvSpPr>
          <p:nvPr>
            <p:ph sz="quarter" idx="10"/>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pitchFamily="34"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6" r:id="rId13"/>
    <p:sldLayoutId id="2147483745" r:id="rId14"/>
    <p:sldLayoutId id="2147483747" r:id="rId15"/>
    <p:sldLayoutId id="2147483748"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pitchFamily="34" charset="0"/>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pitchFamily="34"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microsoft.com/office/2007/relationships/hdphoto" Target="../media/hdphoto1.wdp"/><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oleObject" Target="../embeddings/oleObject6.bin"/><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notesSlide" Target="../notesSlides/notesSlide13.xml"/><Relationship Id="rId2" Type="http://schemas.openxmlformats.org/officeDocument/2006/relationships/tags" Target="../tags/tag90.xml"/><Relationship Id="rId16" Type="http://schemas.openxmlformats.org/officeDocument/2006/relationships/slideLayout" Target="../slideLayouts/slideLayout4.xml"/><Relationship Id="rId1" Type="http://schemas.openxmlformats.org/officeDocument/2006/relationships/vmlDrawing" Target="../drawings/vmlDrawing6.v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tags" Target="../tags/tag103.xml"/><Relationship Id="rId10" Type="http://schemas.openxmlformats.org/officeDocument/2006/relationships/tags" Target="../tags/tag98.xml"/><Relationship Id="rId19" Type="http://schemas.openxmlformats.org/officeDocument/2006/relationships/image" Target="../media/image9.emf"/><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9.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msdn.microsoft.com/library/hh560247(VS.85).aspx"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hyperlink" Target="http://msdn.microsoft.com/en-us/WAZPlatformTrainingCourse" TargetMode="External"/><Relationship Id="rId4" Type="http://schemas.openxmlformats.org/officeDocument/2006/relationships/hyperlink" Target="http://blogs.msdn.com/b/hpctrekker/"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notesSlide" Target="../notesSlides/notesSlide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Layout" Target="../slideLayouts/slideLayout4.xml"/><Relationship Id="rId2" Type="http://schemas.openxmlformats.org/officeDocument/2006/relationships/tags" Target="../tags/tag5.xml"/><Relationship Id="rId16" Type="http://schemas.openxmlformats.org/officeDocument/2006/relationships/image" Target="../media/image11.png"/><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image" Target="../media/image9.emf"/><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image" Target="../media/image11.png"/><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slideLayout" Target="../slideLayouts/slideLayout4.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image" Target="../media/image9.emf"/><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oleObject" Target="../embeddings/oleObject4.bin"/><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notesSlide" Target="../notesSlides/notesSlide8.xml"/><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tags" Target="../tags/tag46.xml"/><Relationship Id="rId11" Type="http://schemas.openxmlformats.org/officeDocument/2006/relationships/slideLayout" Target="../slideLayouts/slideLayout4.xml"/><Relationship Id="rId5" Type="http://schemas.openxmlformats.org/officeDocument/2006/relationships/tags" Target="../tags/tag45.xml"/><Relationship Id="rId15" Type="http://schemas.openxmlformats.org/officeDocument/2006/relationships/image" Target="../media/image11.png"/><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image" Target="../media/image9.emf"/></Relationships>
</file>

<file path=ppt/slides/_rels/slide9.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9" Type="http://schemas.openxmlformats.org/officeDocument/2006/relationships/tags" Target="../tags/tag88.xml"/><Relationship Id="rId3" Type="http://schemas.openxmlformats.org/officeDocument/2006/relationships/tags" Target="../tags/tag52.xml"/><Relationship Id="rId21" Type="http://schemas.openxmlformats.org/officeDocument/2006/relationships/tags" Target="../tags/tag70.xml"/><Relationship Id="rId34" Type="http://schemas.openxmlformats.org/officeDocument/2006/relationships/tags" Target="../tags/tag83.xml"/><Relationship Id="rId42" Type="http://schemas.openxmlformats.org/officeDocument/2006/relationships/oleObject" Target="../embeddings/oleObject5.bin"/><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tags" Target="../tags/tag87.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29" Type="http://schemas.openxmlformats.org/officeDocument/2006/relationships/tags" Target="../tags/tag78.xml"/><Relationship Id="rId41" Type="http://schemas.openxmlformats.org/officeDocument/2006/relationships/notesSlide" Target="../notesSlides/notesSlide9.xml"/><Relationship Id="rId1" Type="http://schemas.openxmlformats.org/officeDocument/2006/relationships/vmlDrawing" Target="../drawings/vmlDrawing5.v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tags" Target="../tags/tag81.xml"/><Relationship Id="rId37" Type="http://schemas.openxmlformats.org/officeDocument/2006/relationships/tags" Target="../tags/tag86.xml"/><Relationship Id="rId40" Type="http://schemas.openxmlformats.org/officeDocument/2006/relationships/slideLayout" Target="../slideLayouts/slideLayout4.xml"/><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tags" Target="../tags/tag85.xml"/><Relationship Id="rId10" Type="http://schemas.openxmlformats.org/officeDocument/2006/relationships/tags" Target="../tags/tag59.xml"/><Relationship Id="rId19" Type="http://schemas.openxmlformats.org/officeDocument/2006/relationships/tags" Target="../tags/tag68.xml"/><Relationship Id="rId31" Type="http://schemas.openxmlformats.org/officeDocument/2006/relationships/tags" Target="../tags/tag80.xml"/><Relationship Id="rId44" Type="http://schemas.openxmlformats.org/officeDocument/2006/relationships/image" Target="../media/image12.png"/><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tags" Target="../tags/tag79.xml"/><Relationship Id="rId35" Type="http://schemas.openxmlformats.org/officeDocument/2006/relationships/tags" Target="../tags/tag84.xml"/><Relationship Id="rId43"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Building and Running HPC Apps in Windows Azure</a:t>
            </a:r>
            <a:endParaRPr lang="en-US" dirty="0"/>
          </a:p>
        </p:txBody>
      </p:sp>
      <p:sp>
        <p:nvSpPr>
          <p:cNvPr id="4" name="Text Placeholder 2"/>
          <p:cNvSpPr>
            <a:spLocks noGrp="1"/>
          </p:cNvSpPr>
          <p:nvPr>
            <p:ph type="body" sz="quarter" idx="11"/>
          </p:nvPr>
        </p:nvSpPr>
        <p:spPr>
          <a:xfrm>
            <a:off x="519113" y="4338638"/>
            <a:ext cx="6400800" cy="368300"/>
          </a:xfrm>
        </p:spPr>
        <p:txBody>
          <a:bodyPr/>
          <a:lstStyle/>
          <a:p>
            <a:pPr>
              <a:spcBef>
                <a:spcPts val="0"/>
              </a:spcBef>
            </a:pPr>
            <a:r>
              <a:rPr lang="en-US" dirty="0" smtClean="0"/>
              <a:t>Name	</a:t>
            </a:r>
          </a:p>
          <a:p>
            <a:pPr>
              <a:spcBef>
                <a:spcPts val="0"/>
              </a:spcBef>
            </a:pPr>
            <a:r>
              <a:rPr lang="en-US" dirty="0" smtClean="0"/>
              <a:t>Title</a:t>
            </a:r>
          </a:p>
          <a:p>
            <a:pPr>
              <a:spcBef>
                <a:spcPts val="0"/>
              </a:spcBef>
            </a:pPr>
            <a:r>
              <a:rPr lang="en-US" dirty="0" smtClean="0"/>
              <a:t>Microsoft Corporation</a:t>
            </a:r>
            <a:endParaRPr lang="en-US" dirty="0"/>
          </a:p>
        </p:txBody>
      </p:sp>
    </p:spTree>
    <p:extLst>
      <p:ext uri="{BB962C8B-B14F-4D97-AF65-F5344CB8AC3E}">
        <p14:creationId xmlns:p14="http://schemas.microsoft.com/office/powerpoint/2010/main" val="53819994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solidFill>
                  <a:schemeClr val="bg1"/>
                </a:solidFill>
              </a:rPr>
              <a:t>HPC </a:t>
            </a:r>
            <a:r>
              <a:rPr lang="en-US" dirty="0" smtClean="0">
                <a:solidFill>
                  <a:schemeClr val="bg1"/>
                </a:solidFill>
              </a:rPr>
              <a:t>Server </a:t>
            </a:r>
            <a:r>
              <a:rPr lang="en-US" dirty="0">
                <a:solidFill>
                  <a:schemeClr val="bg1"/>
                </a:solidFill>
              </a:rPr>
              <a:t>Components</a:t>
            </a:r>
          </a:p>
        </p:txBody>
      </p:sp>
      <p:sp>
        <p:nvSpPr>
          <p:cNvPr id="21" name="Content Placeholder 2"/>
          <p:cNvSpPr txBox="1">
            <a:spLocks/>
          </p:cNvSpPr>
          <p:nvPr/>
        </p:nvSpPr>
        <p:spPr>
          <a:xfrm>
            <a:off x="3814307" y="3028951"/>
            <a:ext cx="7754112"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Parametric Sweeps</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Cluster SOA</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MPI</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LINQ to HPC</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Excel</a:t>
            </a:r>
          </a:p>
        </p:txBody>
      </p:sp>
      <p:sp>
        <p:nvSpPr>
          <p:cNvPr id="22" name="Content Placeholder 2"/>
          <p:cNvSpPr txBox="1">
            <a:spLocks/>
          </p:cNvSpPr>
          <p:nvPr/>
        </p:nvSpPr>
        <p:spPr>
          <a:xfrm>
            <a:off x="3812721" y="4749801"/>
            <a:ext cx="7754112"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Cluster Deploymen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Monitoring</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Diagnostics</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Reporting</a:t>
            </a:r>
          </a:p>
        </p:txBody>
      </p:sp>
      <p:sp>
        <p:nvSpPr>
          <p:cNvPr id="23" name="Content Placeholder 2"/>
          <p:cNvSpPr txBox="1">
            <a:spLocks/>
          </p:cNvSpPr>
          <p:nvPr/>
        </p:nvSpPr>
        <p:spPr>
          <a:xfrm>
            <a:off x="3814943" y="1308101"/>
            <a:ext cx="7754112"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Job submission API and portal</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Job queue and priorities</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Task activation and monitoring</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Resource sharing policies</a:t>
            </a:r>
          </a:p>
        </p:txBody>
      </p:sp>
      <p:grpSp>
        <p:nvGrpSpPr>
          <p:cNvPr id="3" name="Group 2"/>
          <p:cNvGrpSpPr/>
          <p:nvPr/>
        </p:nvGrpSpPr>
        <p:grpSpPr>
          <a:xfrm>
            <a:off x="649206" y="1557005"/>
            <a:ext cx="3008394" cy="871531"/>
            <a:chOff x="649206" y="2018321"/>
            <a:chExt cx="3008394" cy="871531"/>
          </a:xfrm>
        </p:grpSpPr>
        <p:pic>
          <p:nvPicPr>
            <p:cNvPr id="34" name="Picture 48" descr="C:\Users\sakuu\Documents\Ballmer MGX 2011\Tile Icons\Calendar Engineeri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1650020" y="2151188"/>
              <a:ext cx="2007580" cy="738664"/>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 Job </a:t>
              </a:r>
              <a:br>
                <a:rPr lang="en-US" spc="-100" dirty="0" smtClean="0">
                  <a:solidFill>
                    <a:schemeClr val="bg1">
                      <a:alpha val="99000"/>
                    </a:schemeClr>
                  </a:solidFill>
                  <a:latin typeface="Segoe UI" pitchFamily="34" charset="0"/>
                  <a:ea typeface="Segoe UI" pitchFamily="34" charset="0"/>
                  <a:cs typeface="Segoe UI" pitchFamily="34" charset="0"/>
                </a:rPr>
              </a:br>
              <a:r>
                <a:rPr lang="en-US" spc="-100" dirty="0" smtClean="0">
                  <a:solidFill>
                    <a:schemeClr val="bg1">
                      <a:alpha val="99000"/>
                    </a:schemeClr>
                  </a:solidFill>
                  <a:latin typeface="Segoe UI" pitchFamily="34" charset="0"/>
                  <a:ea typeface="Segoe UI" pitchFamily="34" charset="0"/>
                  <a:cs typeface="Segoe UI" pitchFamily="34" charset="0"/>
                </a:rPr>
                <a:t>Schedul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6" name="Group 5"/>
          <p:cNvGrpSpPr/>
          <p:nvPr/>
        </p:nvGrpSpPr>
        <p:grpSpPr>
          <a:xfrm>
            <a:off x="705266" y="3336588"/>
            <a:ext cx="2981516" cy="848510"/>
            <a:chOff x="705266" y="3920247"/>
            <a:chExt cx="2981516" cy="848510"/>
          </a:xfrm>
        </p:grpSpPr>
        <p:sp>
          <p:nvSpPr>
            <p:cNvPr id="39" name="TextBox 38"/>
            <p:cNvSpPr txBox="1"/>
            <p:nvPr/>
          </p:nvSpPr>
          <p:spPr>
            <a:xfrm>
              <a:off x="1650019" y="4127510"/>
              <a:ext cx="2036763" cy="590931"/>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Distributed Runtimes</a:t>
              </a:r>
            </a:p>
          </p:txBody>
        </p:sp>
        <p:pic>
          <p:nvPicPr>
            <p:cNvPr id="41" name="Picture 39" descr="C:\Users\sakuu\Documents\Ballmer WPC\PNGS\Tim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pic>
        <p:nvPicPr>
          <p:cNvPr id="42" name="Picture 4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9" name="Group 8"/>
          <p:cNvGrpSpPr/>
          <p:nvPr/>
        </p:nvGrpSpPr>
        <p:grpSpPr>
          <a:xfrm>
            <a:off x="622324" y="5159436"/>
            <a:ext cx="3297404" cy="826881"/>
            <a:chOff x="622324" y="5733368"/>
            <a:chExt cx="3297404" cy="826881"/>
          </a:xfrm>
        </p:grpSpPr>
        <p:sp>
          <p:nvSpPr>
            <p:cNvPr id="43"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
          <p:nvSpPr>
            <p:cNvPr id="45" name="TextBox 44"/>
            <p:cNvSpPr txBox="1"/>
            <p:nvPr/>
          </p:nvSpPr>
          <p:spPr>
            <a:xfrm>
              <a:off x="1650019" y="5849642"/>
              <a:ext cx="2269709" cy="590931"/>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ystem Administration</a:t>
              </a:r>
            </a:p>
          </p:txBody>
        </p:sp>
      </p:grpSp>
    </p:spTree>
    <p:extLst>
      <p:ext uri="{BB962C8B-B14F-4D97-AF65-F5344CB8AC3E}">
        <p14:creationId xmlns:p14="http://schemas.microsoft.com/office/powerpoint/2010/main" val="40597787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accent4"/>
        </a:solidFill>
        <a:effectLst/>
      </p:bgPr>
    </p:bg>
    <p:spTree>
      <p:nvGrpSpPr>
        <p:cNvPr id="1" name=""/>
        <p:cNvGrpSpPr/>
        <p:nvPr/>
      </p:nvGrpSpPr>
      <p:grpSpPr>
        <a:xfrm>
          <a:off x="0" y="0"/>
          <a:ext cx="0" cy="0"/>
          <a:chOff x="0" y="0"/>
          <a:chExt cx="0" cy="0"/>
        </a:xfrm>
      </p:grpSpPr>
      <p:sp>
        <p:nvSpPr>
          <p:cNvPr id="16" name="Rectangle 15"/>
          <p:cNvSpPr/>
          <p:nvPr>
            <p:custDataLst>
              <p:tags r:id="rId1"/>
            </p:custDataLst>
          </p:nvPr>
        </p:nvSpPr>
        <p:spPr bwMode="auto">
          <a:xfrm>
            <a:off x="517525" y="1141412"/>
            <a:ext cx="6564211" cy="3615413"/>
          </a:xfrm>
          <a:prstGeom prst="rect">
            <a:avLst/>
          </a:prstGeom>
          <a:solidFill>
            <a:schemeClr val="bg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chemeClr val="bg1"/>
              </a:solidFill>
              <a:latin typeface="Segoe UI Light" pitchFamily="34" charset="0"/>
            </a:endParaRPr>
          </a:p>
        </p:txBody>
      </p:sp>
      <p:sp>
        <p:nvSpPr>
          <p:cNvPr id="2" name="Title 1"/>
          <p:cNvSpPr>
            <a:spLocks noGrp="1"/>
          </p:cNvSpPr>
          <p:nvPr>
            <p:ph type="title"/>
          </p:nvPr>
        </p:nvSpPr>
        <p:spPr>
          <a:xfrm>
            <a:off x="519112" y="228600"/>
            <a:ext cx="11149013" cy="553998"/>
          </a:xfrm>
        </p:spPr>
        <p:txBody>
          <a:bodyPr/>
          <a:lstStyle/>
          <a:p>
            <a:r>
              <a:rPr lang="en-US" sz="4000" dirty="0">
                <a:solidFill>
                  <a:schemeClr val="bg1"/>
                </a:solidFill>
              </a:rPr>
              <a:t>Components in </a:t>
            </a:r>
            <a:r>
              <a:rPr lang="en-US" sz="4000" dirty="0" smtClean="0">
                <a:solidFill>
                  <a:schemeClr val="bg1"/>
                </a:solidFill>
              </a:rPr>
              <a:t>HPC SDK </a:t>
            </a:r>
            <a:r>
              <a:rPr lang="en-US" sz="4000" dirty="0">
                <a:solidFill>
                  <a:schemeClr val="bg1"/>
                </a:solidFill>
              </a:rPr>
              <a:t>for Windows Azure</a:t>
            </a:r>
          </a:p>
        </p:txBody>
      </p:sp>
      <p:sp>
        <p:nvSpPr>
          <p:cNvPr id="21" name="Content Placeholder 2"/>
          <p:cNvSpPr txBox="1">
            <a:spLocks/>
          </p:cNvSpPr>
          <p:nvPr/>
        </p:nvSpPr>
        <p:spPr>
          <a:xfrm>
            <a:off x="3814307" y="3028951"/>
            <a:ext cx="3724625"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Parametric Sweeps</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Cluster SOA</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MPI</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LINQ to HPC</a:t>
            </a:r>
          </a:p>
          <a:p>
            <a:pPr marL="3175" lvl="1" indent="0" defTabSz="914325">
              <a:lnSpc>
                <a:spcPct val="90000"/>
              </a:lnSpc>
              <a:spcBef>
                <a:spcPts val="0"/>
              </a:spcBef>
              <a:spcAft>
                <a:spcPts val="600"/>
              </a:spcAft>
              <a:buSzPct val="80000"/>
              <a:buNone/>
            </a:pPr>
            <a:r>
              <a:rPr lang="en-US" sz="1800" spc="-51" dirty="0">
                <a:solidFill>
                  <a:schemeClr val="bg1">
                    <a:alpha val="50000"/>
                  </a:schemeClr>
                </a:solidFill>
                <a:latin typeface="+mn-lt"/>
                <a:cs typeface="Segoe UI" pitchFamily="34" charset="0"/>
              </a:rPr>
              <a:t>Excel</a:t>
            </a:r>
          </a:p>
        </p:txBody>
      </p:sp>
      <p:sp>
        <p:nvSpPr>
          <p:cNvPr id="22" name="Content Placeholder 2"/>
          <p:cNvSpPr txBox="1">
            <a:spLocks/>
          </p:cNvSpPr>
          <p:nvPr/>
        </p:nvSpPr>
        <p:spPr>
          <a:xfrm>
            <a:off x="3812721" y="4749801"/>
            <a:ext cx="3724625"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Cluster Deployment</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Monitoring</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Diagnostics</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Reporting</a:t>
            </a:r>
          </a:p>
        </p:txBody>
      </p:sp>
      <p:sp>
        <p:nvSpPr>
          <p:cNvPr id="23" name="Content Placeholder 2"/>
          <p:cNvSpPr txBox="1">
            <a:spLocks/>
          </p:cNvSpPr>
          <p:nvPr/>
        </p:nvSpPr>
        <p:spPr>
          <a:xfrm>
            <a:off x="3814943" y="1308101"/>
            <a:ext cx="3724625"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Job submission API and portal</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Job queue and priorities</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Task activation and monitoring</a:t>
            </a:r>
          </a:p>
          <a:p>
            <a:pPr marL="3175" lvl="1" indent="0" defTabSz="914325">
              <a:lnSpc>
                <a:spcPct val="90000"/>
              </a:lnSpc>
              <a:spcBef>
                <a:spcPts val="0"/>
              </a:spcBef>
              <a:spcAft>
                <a:spcPts val="600"/>
              </a:spcAft>
              <a:buSzPct val="80000"/>
              <a:buNone/>
            </a:pPr>
            <a:r>
              <a:rPr lang="en-US" sz="1800" spc="-51" dirty="0">
                <a:solidFill>
                  <a:schemeClr val="bg1">
                    <a:alpha val="99000"/>
                  </a:schemeClr>
                </a:solidFill>
                <a:latin typeface="+mn-lt"/>
                <a:cs typeface="Segoe UI" pitchFamily="34" charset="0"/>
              </a:rPr>
              <a:t>Resource sharing policies</a:t>
            </a:r>
          </a:p>
        </p:txBody>
      </p:sp>
      <p:grpSp>
        <p:nvGrpSpPr>
          <p:cNvPr id="3" name="Group 2"/>
          <p:cNvGrpSpPr/>
          <p:nvPr/>
        </p:nvGrpSpPr>
        <p:grpSpPr>
          <a:xfrm>
            <a:off x="649206" y="1557005"/>
            <a:ext cx="3008394" cy="871531"/>
            <a:chOff x="649206" y="2018321"/>
            <a:chExt cx="3008394" cy="871531"/>
          </a:xfrm>
        </p:grpSpPr>
        <p:pic>
          <p:nvPicPr>
            <p:cNvPr id="34" name="Picture 48" descr="C:\Users\sakuu\Documents\Ballmer MGX 2011\Tile Icons\Calendar Engineerin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49206" y="2018321"/>
              <a:ext cx="750914" cy="792972"/>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1650020" y="2151188"/>
              <a:ext cx="2007580" cy="738664"/>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Azure</a:t>
              </a:r>
              <a:br>
                <a:rPr lang="en-US" spc="-100" dirty="0" smtClean="0">
                  <a:solidFill>
                    <a:schemeClr val="bg1">
                      <a:alpha val="99000"/>
                    </a:schemeClr>
                  </a:solidFill>
                  <a:latin typeface="Segoe UI" pitchFamily="34" charset="0"/>
                  <a:ea typeface="Segoe UI" pitchFamily="34" charset="0"/>
                  <a:cs typeface="Segoe UI" pitchFamily="34" charset="0"/>
                </a:rPr>
              </a:br>
              <a:r>
                <a:rPr lang="en-US" spc="-100" dirty="0" smtClean="0">
                  <a:solidFill>
                    <a:schemeClr val="bg1">
                      <a:alpha val="99000"/>
                    </a:schemeClr>
                  </a:solidFill>
                  <a:latin typeface="Segoe UI" pitchFamily="34" charset="0"/>
                  <a:ea typeface="Segoe UI" pitchFamily="34" charset="0"/>
                  <a:cs typeface="Segoe UI" pitchFamily="34" charset="0"/>
                </a:rPr>
                <a:t>Schedul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6" name="Group 5"/>
          <p:cNvGrpSpPr/>
          <p:nvPr/>
        </p:nvGrpSpPr>
        <p:grpSpPr>
          <a:xfrm>
            <a:off x="705266" y="3336588"/>
            <a:ext cx="2981516" cy="848510"/>
            <a:chOff x="705266" y="3920247"/>
            <a:chExt cx="2981516" cy="848510"/>
          </a:xfrm>
        </p:grpSpPr>
        <p:sp>
          <p:nvSpPr>
            <p:cNvPr id="39" name="TextBox 38"/>
            <p:cNvSpPr txBox="1"/>
            <p:nvPr/>
          </p:nvSpPr>
          <p:spPr>
            <a:xfrm>
              <a:off x="1650019" y="4127510"/>
              <a:ext cx="2036763" cy="590931"/>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Distributed Runtimes</a:t>
              </a:r>
            </a:p>
          </p:txBody>
        </p:sp>
        <p:pic>
          <p:nvPicPr>
            <p:cNvPr id="41" name="Picture 39" descr="C:\Users\sakuu\Documents\Ballmer WPC\PNGS\Tim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705266" y="3920247"/>
              <a:ext cx="563324" cy="848510"/>
            </a:xfrm>
            <a:prstGeom prst="rect">
              <a:avLst/>
            </a:prstGeom>
            <a:noFill/>
            <a:extLst>
              <a:ext uri="{909E8E84-426E-40DD-AFC4-6F175D3DCCD1}">
                <a14:hiddenFill xmlns:a14="http://schemas.microsoft.com/office/drawing/2010/main">
                  <a:solidFill>
                    <a:srgbClr val="FFFFFF"/>
                  </a:solidFill>
                </a14:hiddenFill>
              </a:ext>
            </a:extLst>
          </p:spPr>
        </p:pic>
      </p:grpSp>
      <p:pic>
        <p:nvPicPr>
          <p:cNvPr id="42" name="Picture 41"/>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9" name="Group 8"/>
          <p:cNvGrpSpPr/>
          <p:nvPr/>
        </p:nvGrpSpPr>
        <p:grpSpPr>
          <a:xfrm>
            <a:off x="622324" y="5159436"/>
            <a:ext cx="3297404" cy="826881"/>
            <a:chOff x="622324" y="5733368"/>
            <a:chExt cx="3297404" cy="826881"/>
          </a:xfrm>
        </p:grpSpPr>
        <p:sp>
          <p:nvSpPr>
            <p:cNvPr id="43" name="Freeform 154"/>
            <p:cNvSpPr>
              <a:spLocks noEditPoints="1"/>
            </p:cNvSpPr>
            <p:nvPr/>
          </p:nvSpPr>
          <p:spPr bwMode="black">
            <a:xfrm>
              <a:off x="622324" y="5733368"/>
              <a:ext cx="827097" cy="826881"/>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
          <p:nvSpPr>
            <p:cNvPr id="45" name="TextBox 44"/>
            <p:cNvSpPr txBox="1"/>
            <p:nvPr/>
          </p:nvSpPr>
          <p:spPr>
            <a:xfrm>
              <a:off x="1650019" y="5849642"/>
              <a:ext cx="2269709" cy="590931"/>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ystem Administration</a:t>
              </a:r>
            </a:p>
          </p:txBody>
        </p:sp>
      </p:grpSp>
      <p:sp>
        <p:nvSpPr>
          <p:cNvPr id="5" name="Rectangle 4"/>
          <p:cNvSpPr/>
          <p:nvPr/>
        </p:nvSpPr>
        <p:spPr>
          <a:xfrm>
            <a:off x="7188741" y="1141413"/>
            <a:ext cx="4487322" cy="3539430"/>
          </a:xfrm>
          <a:prstGeom prst="rect">
            <a:avLst/>
          </a:prstGeom>
        </p:spPr>
        <p:txBody>
          <a:bodyPr wrap="square">
            <a:spAutoFit/>
          </a:bodyPr>
          <a:lstStyle/>
          <a:p>
            <a:pPr lvl="0"/>
            <a:r>
              <a:rPr lang="en-US" sz="3200" dirty="0">
                <a:ln>
                  <a:solidFill>
                    <a:srgbClr val="FFFFFF">
                      <a:alpha val="0"/>
                    </a:srgbClr>
                  </a:solidFill>
                </a:ln>
                <a:solidFill>
                  <a:schemeClr val="bg1">
                    <a:alpha val="99000"/>
                  </a:schemeClr>
                </a:solidFill>
                <a:latin typeface="Segoe UI Light" pitchFamily="34" charset="0"/>
              </a:rPr>
              <a:t>The full HPC Job Scheduler and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Runtimes </a:t>
            </a:r>
            <a:r>
              <a:rPr lang="en-US" sz="3200" dirty="0">
                <a:ln>
                  <a:solidFill>
                    <a:srgbClr val="FFFFFF">
                      <a:alpha val="0"/>
                    </a:srgbClr>
                  </a:solidFill>
                </a:ln>
                <a:solidFill>
                  <a:schemeClr val="bg1">
                    <a:alpha val="99000"/>
                  </a:schemeClr>
                </a:solidFill>
                <a:latin typeface="Segoe UI Light" pitchFamily="34" charset="0"/>
              </a:rPr>
              <a:t>are available</a:t>
            </a:r>
          </a:p>
          <a:p>
            <a:pPr lvl="0"/>
            <a:r>
              <a:rPr lang="en-US" sz="3200" dirty="0">
                <a:ln>
                  <a:solidFill>
                    <a:srgbClr val="FFFFFF">
                      <a:alpha val="0"/>
                    </a:srgbClr>
                  </a:solidFill>
                </a:ln>
                <a:solidFill>
                  <a:schemeClr val="bg1">
                    <a:alpha val="99000"/>
                  </a:schemeClr>
                </a:solidFill>
                <a:latin typeface="Segoe UI Light" pitchFamily="34" charset="0"/>
              </a:rPr>
              <a:t>Management of the compute resource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will </a:t>
            </a:r>
            <a:r>
              <a:rPr lang="en-US" sz="3200" dirty="0">
                <a:ln>
                  <a:solidFill>
                    <a:srgbClr val="FFFFFF">
                      <a:alpha val="0"/>
                    </a:srgbClr>
                  </a:solidFill>
                </a:ln>
                <a:solidFill>
                  <a:schemeClr val="bg1">
                    <a:alpha val="99000"/>
                  </a:schemeClr>
                </a:solidFill>
                <a:latin typeface="Segoe UI Light" pitchFamily="34" charset="0"/>
              </a:rPr>
              <a:t>be handled by </a:t>
            </a:r>
            <a:r>
              <a:rPr lang="en-US" sz="3200" dirty="0" smtClean="0">
                <a:ln>
                  <a:solidFill>
                    <a:srgbClr val="FFFFFF">
                      <a:alpha val="0"/>
                    </a:srgbClr>
                  </a:solidFill>
                </a:ln>
                <a:solidFill>
                  <a:schemeClr val="bg1">
                    <a:alpha val="99000"/>
                  </a:schemeClr>
                </a:solidFill>
                <a:latin typeface="Segoe UI Light" pitchFamily="34" charset="0"/>
              </a:rPr>
              <a:t>Windows </a:t>
            </a:r>
            <a:r>
              <a:rPr lang="en-US" sz="3200" dirty="0">
                <a:ln>
                  <a:solidFill>
                    <a:srgbClr val="FFFFFF">
                      <a:alpha val="0"/>
                    </a:srgbClr>
                  </a:solidFill>
                </a:ln>
                <a:solidFill>
                  <a:schemeClr val="bg1">
                    <a:alpha val="99000"/>
                  </a:schemeClr>
                </a:solidFill>
                <a:latin typeface="Segoe UI Light" pitchFamily="34" charset="0"/>
              </a:rPr>
              <a:t>Azure</a:t>
            </a:r>
          </a:p>
        </p:txBody>
      </p:sp>
    </p:spTree>
    <p:extLst>
      <p:ext uri="{BB962C8B-B14F-4D97-AF65-F5344CB8AC3E}">
        <p14:creationId xmlns:p14="http://schemas.microsoft.com/office/powerpoint/2010/main" val="157253278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4">
            <a:alpha val="99000"/>
          </a:schemeClr>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igital Rendering on</a:t>
            </a:r>
            <a:r>
              <a:rPr lang="en-US" dirty="0"/>
              <a:t/>
            </a:r>
            <a:br>
              <a:rPr lang="en-US" dirty="0"/>
            </a:br>
            <a:r>
              <a:rPr lang="en-US" dirty="0"/>
              <a:t>Windows Azure</a:t>
            </a:r>
          </a:p>
        </p:txBody>
      </p:sp>
      <p:sp>
        <p:nvSpPr>
          <p:cNvPr id="8" name="Subtitle 7"/>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pPr>
              <a:spcBef>
                <a:spcPts val="1200"/>
              </a:spcBef>
            </a:pPr>
            <a:r>
              <a:rPr lang="en-US" dirty="0">
                <a:solidFill>
                  <a:schemeClr val="accent4">
                    <a:lumMod val="40000"/>
                    <a:lumOff val="60000"/>
                    <a:alpha val="99000"/>
                  </a:schemeClr>
                </a:solidFill>
              </a:rPr>
              <a:t>demo</a:t>
            </a:r>
          </a:p>
        </p:txBody>
      </p:sp>
    </p:spTree>
    <p:extLst>
      <p:ext uri="{BB962C8B-B14F-4D97-AF65-F5344CB8AC3E}">
        <p14:creationId xmlns:p14="http://schemas.microsoft.com/office/powerpoint/2010/main" val="404401408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225616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9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indows Azure Scheduler In Action</a:t>
            </a:r>
            <a:endParaRPr lang="en-US" dirty="0"/>
          </a:p>
        </p:txBody>
      </p:sp>
      <p:sp>
        <p:nvSpPr>
          <p:cNvPr id="4" name="Rectangle 3"/>
          <p:cNvSpPr/>
          <p:nvPr>
            <p:custDataLst>
              <p:tags r:id="rId4"/>
            </p:custDataLst>
          </p:nvPr>
        </p:nvSpPr>
        <p:spPr bwMode="auto">
          <a:xfrm>
            <a:off x="3438525" y="1141413"/>
            <a:ext cx="8229600" cy="5125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solidFill>
                <a:latin typeface="Segoe UI Light" pitchFamily="34" charset="0"/>
              </a:rPr>
              <a:t>A Windows Azure Deployment</a:t>
            </a:r>
          </a:p>
        </p:txBody>
      </p:sp>
      <p:sp>
        <p:nvSpPr>
          <p:cNvPr id="6" name="Rectangle 5"/>
          <p:cNvSpPr/>
          <p:nvPr>
            <p:custDataLst>
              <p:tags r:id="rId5"/>
            </p:custDataLst>
          </p:nvPr>
        </p:nvSpPr>
        <p:spPr bwMode="auto">
          <a:xfrm>
            <a:off x="4073940" y="1985021"/>
            <a:ext cx="2560320" cy="3474720"/>
          </a:xfrm>
          <a:prstGeom prst="rect">
            <a:avLst/>
          </a:prstGeom>
          <a:solidFill>
            <a:schemeClr val="accent4"/>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rgbClr val="595959"/>
                </a:solidFill>
              </a:rPr>
              <a:t>Front End</a:t>
            </a:r>
          </a:p>
        </p:txBody>
      </p:sp>
      <p:sp>
        <p:nvSpPr>
          <p:cNvPr id="5" name="Rectangle 4"/>
          <p:cNvSpPr/>
          <p:nvPr>
            <p:custDataLst>
              <p:tags r:id="rId6"/>
            </p:custDataLst>
          </p:nvPr>
        </p:nvSpPr>
        <p:spPr bwMode="auto">
          <a:xfrm>
            <a:off x="3891060" y="1802458"/>
            <a:ext cx="2560320" cy="3474720"/>
          </a:xfrm>
          <a:prstGeom prst="rect">
            <a:avLst/>
          </a:prstGeom>
          <a:solidFill>
            <a:schemeClr val="accent4"/>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defTabSz="913788" fontAlgn="base">
              <a:spcBef>
                <a:spcPct val="0"/>
              </a:spcBef>
              <a:spcAft>
                <a:spcPct val="0"/>
              </a:spcAft>
            </a:pPr>
            <a:r>
              <a:rPr lang="en-US" sz="2000" dirty="0">
                <a:ln>
                  <a:solidFill>
                    <a:schemeClr val="bg1">
                      <a:alpha val="0"/>
                    </a:schemeClr>
                  </a:solidFill>
                </a:ln>
                <a:solidFill>
                  <a:schemeClr val="bg1">
                    <a:alpha val="99000"/>
                  </a:schemeClr>
                </a:solidFill>
              </a:rPr>
              <a:t>Front End</a:t>
            </a:r>
          </a:p>
        </p:txBody>
      </p:sp>
      <p:sp>
        <p:nvSpPr>
          <p:cNvPr id="8" name="Rectangle 7"/>
          <p:cNvSpPr/>
          <p:nvPr>
            <p:custDataLst>
              <p:tags r:id="rId7"/>
            </p:custDataLst>
          </p:nvPr>
        </p:nvSpPr>
        <p:spPr bwMode="auto">
          <a:xfrm>
            <a:off x="8645940" y="1802458"/>
            <a:ext cx="2560320" cy="2286000"/>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defTabSz="913788" fontAlgn="base">
              <a:spcBef>
                <a:spcPct val="0"/>
              </a:spcBef>
              <a:spcAft>
                <a:spcPct val="0"/>
              </a:spcAft>
            </a:pPr>
            <a:r>
              <a:rPr lang="en-US" sz="2000" dirty="0">
                <a:ln>
                  <a:solidFill>
                    <a:schemeClr val="bg1">
                      <a:alpha val="0"/>
                    </a:schemeClr>
                  </a:solidFill>
                </a:ln>
                <a:solidFill>
                  <a:schemeClr val="bg1">
                    <a:alpha val="99000"/>
                  </a:schemeClr>
                </a:solidFill>
              </a:rPr>
              <a:t>Compute Worker</a:t>
            </a:r>
          </a:p>
        </p:txBody>
      </p:sp>
      <p:sp>
        <p:nvSpPr>
          <p:cNvPr id="9" name="Rectangle 8"/>
          <p:cNvSpPr/>
          <p:nvPr>
            <p:custDataLst>
              <p:tags r:id="rId8"/>
            </p:custDataLst>
          </p:nvPr>
        </p:nvSpPr>
        <p:spPr bwMode="auto">
          <a:xfrm>
            <a:off x="8645940" y="4199636"/>
            <a:ext cx="2560320" cy="369328"/>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defTabSz="913788" fontAlgn="base">
              <a:spcBef>
                <a:spcPct val="0"/>
              </a:spcBef>
              <a:spcAft>
                <a:spcPct val="0"/>
              </a:spcAft>
            </a:pPr>
            <a:r>
              <a:rPr lang="en-US" sz="1800" dirty="0">
                <a:ln>
                  <a:solidFill>
                    <a:schemeClr val="bg1">
                      <a:alpha val="0"/>
                    </a:schemeClr>
                  </a:solidFill>
                </a:ln>
                <a:solidFill>
                  <a:schemeClr val="bg1">
                    <a:alpha val="99000"/>
                  </a:schemeClr>
                </a:solidFill>
              </a:rPr>
              <a:t>Compute Worker</a:t>
            </a:r>
          </a:p>
        </p:txBody>
      </p:sp>
      <p:sp>
        <p:nvSpPr>
          <p:cNvPr id="10" name="Rectangle 9"/>
          <p:cNvSpPr/>
          <p:nvPr>
            <p:custDataLst>
              <p:tags r:id="rId9"/>
            </p:custDataLst>
          </p:nvPr>
        </p:nvSpPr>
        <p:spPr bwMode="auto">
          <a:xfrm>
            <a:off x="8645940" y="4680142"/>
            <a:ext cx="2560320" cy="369328"/>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defTabSz="913788" fontAlgn="base">
              <a:spcBef>
                <a:spcPct val="0"/>
              </a:spcBef>
              <a:spcAft>
                <a:spcPct val="0"/>
              </a:spcAft>
            </a:pPr>
            <a:r>
              <a:rPr lang="en-US" sz="1800" dirty="0">
                <a:ln>
                  <a:solidFill>
                    <a:schemeClr val="bg1">
                      <a:alpha val="0"/>
                    </a:schemeClr>
                  </a:solidFill>
                </a:ln>
                <a:solidFill>
                  <a:schemeClr val="bg1">
                    <a:alpha val="99000"/>
                  </a:schemeClr>
                </a:solidFill>
              </a:rPr>
              <a:t>Compute Worker</a:t>
            </a:r>
          </a:p>
        </p:txBody>
      </p:sp>
      <p:sp>
        <p:nvSpPr>
          <p:cNvPr id="11" name="Rectangle 10"/>
          <p:cNvSpPr/>
          <p:nvPr>
            <p:custDataLst>
              <p:tags r:id="rId10"/>
            </p:custDataLst>
          </p:nvPr>
        </p:nvSpPr>
        <p:spPr bwMode="auto">
          <a:xfrm>
            <a:off x="8645940" y="5160648"/>
            <a:ext cx="2560320" cy="369328"/>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defTabSz="913788" fontAlgn="base">
              <a:spcBef>
                <a:spcPct val="0"/>
              </a:spcBef>
              <a:spcAft>
                <a:spcPct val="0"/>
              </a:spcAft>
            </a:pPr>
            <a:r>
              <a:rPr lang="en-US" sz="1800" dirty="0">
                <a:ln>
                  <a:solidFill>
                    <a:schemeClr val="bg1">
                      <a:alpha val="0"/>
                    </a:schemeClr>
                  </a:solidFill>
                </a:ln>
                <a:solidFill>
                  <a:schemeClr val="bg1">
                    <a:alpha val="99000"/>
                  </a:schemeClr>
                </a:solidFill>
              </a:rPr>
              <a:t>Compute Worker</a:t>
            </a:r>
          </a:p>
        </p:txBody>
      </p:sp>
      <p:sp>
        <p:nvSpPr>
          <p:cNvPr id="12" name="Rectangle 11"/>
          <p:cNvSpPr/>
          <p:nvPr>
            <p:custDataLst>
              <p:tags r:id="rId11"/>
            </p:custDataLst>
          </p:nvPr>
        </p:nvSpPr>
        <p:spPr bwMode="auto">
          <a:xfrm>
            <a:off x="8645940" y="5641154"/>
            <a:ext cx="2560320" cy="369328"/>
          </a:xfrm>
          <a:prstGeom prst="rect">
            <a:avLst/>
          </a:prstGeom>
          <a:solidFill>
            <a:schemeClr val="accent2">
              <a:lumMod val="7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defTabSz="913788" fontAlgn="base">
              <a:spcBef>
                <a:spcPct val="0"/>
              </a:spcBef>
              <a:spcAft>
                <a:spcPct val="0"/>
              </a:spcAft>
            </a:pPr>
            <a:r>
              <a:rPr lang="en-US" sz="1800" dirty="0">
                <a:ln>
                  <a:solidFill>
                    <a:schemeClr val="bg1">
                      <a:alpha val="0"/>
                    </a:schemeClr>
                  </a:solidFill>
                </a:ln>
                <a:solidFill>
                  <a:schemeClr val="bg1">
                    <a:alpha val="99000"/>
                  </a:schemeClr>
                </a:solidFill>
              </a:rPr>
              <a:t>Compute Worker</a:t>
            </a:r>
          </a:p>
        </p:txBody>
      </p:sp>
      <p:sp>
        <p:nvSpPr>
          <p:cNvPr id="13" name="Rectangle 12"/>
          <p:cNvSpPr/>
          <p:nvPr>
            <p:custDataLst>
              <p:tags r:id="rId12"/>
            </p:custDataLst>
          </p:nvPr>
        </p:nvSpPr>
        <p:spPr bwMode="auto">
          <a:xfrm>
            <a:off x="3999807" y="2347923"/>
            <a:ext cx="2342826" cy="109728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noAutofit/>
          </a:bodyPr>
          <a:lstStyle/>
          <a:p>
            <a:pPr defTabSz="913788" fontAlgn="base">
              <a:spcBef>
                <a:spcPct val="0"/>
              </a:spcBef>
              <a:spcAft>
                <a:spcPct val="0"/>
              </a:spcAft>
            </a:pPr>
            <a:r>
              <a:rPr lang="en-US" sz="1800" dirty="0">
                <a:ln>
                  <a:solidFill>
                    <a:schemeClr val="bg1">
                      <a:alpha val="0"/>
                    </a:schemeClr>
                  </a:solidFill>
                </a:ln>
                <a:solidFill>
                  <a:srgbClr val="595959"/>
                </a:solidFill>
              </a:rPr>
              <a:t>Application Front End (Web Page)</a:t>
            </a:r>
          </a:p>
        </p:txBody>
      </p:sp>
      <p:sp>
        <p:nvSpPr>
          <p:cNvPr id="14" name="Rectangle 13"/>
          <p:cNvSpPr/>
          <p:nvPr>
            <p:custDataLst>
              <p:tags r:id="rId13"/>
            </p:custDataLst>
          </p:nvPr>
        </p:nvSpPr>
        <p:spPr bwMode="auto">
          <a:xfrm>
            <a:off x="4942620" y="3921710"/>
            <a:ext cx="1371600"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000" dirty="0">
                <a:ln>
                  <a:solidFill>
                    <a:schemeClr val="bg1">
                      <a:alpha val="0"/>
                    </a:schemeClr>
                  </a:solidFill>
                </a:ln>
                <a:solidFill>
                  <a:schemeClr val="bg1"/>
                </a:solidFill>
              </a:rPr>
              <a:t>Windows Azure Scheduler</a:t>
            </a:r>
          </a:p>
        </p:txBody>
      </p:sp>
      <p:sp>
        <p:nvSpPr>
          <p:cNvPr id="16" name="Rectangle 15"/>
          <p:cNvSpPr/>
          <p:nvPr/>
        </p:nvSpPr>
        <p:spPr>
          <a:xfrm>
            <a:off x="4625582" y="5499210"/>
            <a:ext cx="2005677" cy="646331"/>
          </a:xfrm>
          <a:prstGeom prst="rect">
            <a:avLst/>
          </a:prstGeom>
        </p:spPr>
        <p:txBody>
          <a:bodyPr wrap="none">
            <a:spAutoFit/>
          </a:bodyPr>
          <a:lstStyle/>
          <a:p>
            <a:pPr defTabSz="913788" fontAlgn="base">
              <a:spcBef>
                <a:spcPct val="0"/>
              </a:spcBef>
              <a:spcAft>
                <a:spcPct val="0"/>
              </a:spcAft>
            </a:pPr>
            <a:r>
              <a:rPr lang="en-US" sz="1800" dirty="0" smtClean="0">
                <a:ln>
                  <a:solidFill>
                    <a:schemeClr val="bg1">
                      <a:alpha val="0"/>
                    </a:schemeClr>
                  </a:solidFill>
                </a:ln>
                <a:solidFill>
                  <a:srgbClr val="595959"/>
                </a:solidFill>
              </a:rPr>
              <a:t>Consistent HPC</a:t>
            </a:r>
            <a:endParaRPr lang="en-US" sz="1800" dirty="0">
              <a:ln>
                <a:solidFill>
                  <a:schemeClr val="bg1">
                    <a:alpha val="0"/>
                  </a:schemeClr>
                </a:solidFill>
              </a:ln>
              <a:solidFill>
                <a:srgbClr val="595959"/>
              </a:solidFill>
            </a:endParaRPr>
          </a:p>
          <a:p>
            <a:pPr defTabSz="913788" fontAlgn="base">
              <a:spcBef>
                <a:spcPct val="0"/>
              </a:spcBef>
              <a:spcAft>
                <a:spcPct val="0"/>
              </a:spcAft>
            </a:pPr>
            <a:r>
              <a:rPr lang="en-US" sz="1800" dirty="0">
                <a:ln>
                  <a:solidFill>
                    <a:schemeClr val="bg1">
                      <a:alpha val="0"/>
                    </a:schemeClr>
                  </a:solidFill>
                </a:ln>
                <a:solidFill>
                  <a:srgbClr val="595959"/>
                </a:solidFill>
              </a:rPr>
              <a:t>Job Scheduler API</a:t>
            </a:r>
          </a:p>
        </p:txBody>
      </p:sp>
      <p:sp>
        <p:nvSpPr>
          <p:cNvPr id="18" name="Rectangle 17"/>
          <p:cNvSpPr/>
          <p:nvPr>
            <p:custDataLst>
              <p:tags r:id="rId14"/>
            </p:custDataLst>
          </p:nvPr>
        </p:nvSpPr>
        <p:spPr bwMode="auto">
          <a:xfrm>
            <a:off x="8783100" y="2302203"/>
            <a:ext cx="22860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defTabSz="913788" fontAlgn="base">
              <a:spcBef>
                <a:spcPct val="0"/>
              </a:spcBef>
              <a:spcAft>
                <a:spcPct val="0"/>
              </a:spcAft>
            </a:pPr>
            <a:r>
              <a:rPr lang="en-US" sz="2000" dirty="0">
                <a:ln>
                  <a:solidFill>
                    <a:schemeClr val="bg1">
                      <a:alpha val="0"/>
                    </a:schemeClr>
                  </a:solidFill>
                </a:ln>
                <a:solidFill>
                  <a:schemeClr val="bg1"/>
                </a:solidFill>
              </a:rPr>
              <a:t>Node Manager</a:t>
            </a:r>
          </a:p>
        </p:txBody>
      </p:sp>
      <p:sp>
        <p:nvSpPr>
          <p:cNvPr id="19" name="Rectangle 18"/>
          <p:cNvSpPr/>
          <p:nvPr>
            <p:custDataLst>
              <p:tags r:id="rId15"/>
            </p:custDataLst>
          </p:nvPr>
        </p:nvSpPr>
        <p:spPr bwMode="auto">
          <a:xfrm>
            <a:off x="8783100" y="2866083"/>
            <a:ext cx="2286000" cy="109728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a:ln>
                  <a:solidFill>
                    <a:schemeClr val="bg1">
                      <a:alpha val="0"/>
                    </a:schemeClr>
                  </a:solidFill>
                </a:ln>
                <a:solidFill>
                  <a:srgbClr val="595959">
                    <a:alpha val="99000"/>
                  </a:srgbClr>
                </a:solidFill>
              </a:rPr>
              <a:t>Application</a:t>
            </a:r>
          </a:p>
        </p:txBody>
      </p:sp>
      <p:cxnSp>
        <p:nvCxnSpPr>
          <p:cNvPr id="24" name="Straight Arrow Connector 23"/>
          <p:cNvCxnSpPr>
            <a:stCxn id="14" idx="3"/>
            <a:endCxn id="8" idx="1"/>
          </p:cNvCxnSpPr>
          <p:nvPr/>
        </p:nvCxnSpPr>
        <p:spPr>
          <a:xfrm flipV="1">
            <a:off x="6314220" y="2945458"/>
            <a:ext cx="2331720" cy="1570612"/>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3"/>
            <a:endCxn id="9" idx="1"/>
          </p:cNvCxnSpPr>
          <p:nvPr/>
        </p:nvCxnSpPr>
        <p:spPr>
          <a:xfrm flipV="1">
            <a:off x="6314220" y="4384300"/>
            <a:ext cx="2331720" cy="13177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10" idx="1"/>
          </p:cNvCxnSpPr>
          <p:nvPr/>
        </p:nvCxnSpPr>
        <p:spPr>
          <a:xfrm>
            <a:off x="6314220" y="4516070"/>
            <a:ext cx="2331720" cy="348736"/>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3"/>
            <a:endCxn id="11" idx="1"/>
          </p:cNvCxnSpPr>
          <p:nvPr/>
        </p:nvCxnSpPr>
        <p:spPr>
          <a:xfrm>
            <a:off x="6314220" y="4516070"/>
            <a:ext cx="2331720" cy="829242"/>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3"/>
            <a:endCxn id="12" idx="1"/>
          </p:cNvCxnSpPr>
          <p:nvPr/>
        </p:nvCxnSpPr>
        <p:spPr>
          <a:xfrm>
            <a:off x="6314220" y="4516070"/>
            <a:ext cx="2331720" cy="1309748"/>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4" idx="1"/>
          </p:cNvCxnSpPr>
          <p:nvPr/>
        </p:nvCxnSpPr>
        <p:spPr>
          <a:xfrm flipH="1">
            <a:off x="4216815" y="4516070"/>
            <a:ext cx="725805" cy="0"/>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3" idx="2"/>
          </p:cNvCxnSpPr>
          <p:nvPr/>
        </p:nvCxnSpPr>
        <p:spPr>
          <a:xfrm flipH="1">
            <a:off x="4216816" y="3445203"/>
            <a:ext cx="954404" cy="939097"/>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3078273" y="2896563"/>
            <a:ext cx="911374" cy="0"/>
          </a:xfrm>
          <a:prstGeom prst="line">
            <a:avLst/>
          </a:prstGeom>
          <a:ln w="19050">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067339" y="2896857"/>
            <a:ext cx="883761" cy="0"/>
          </a:xfrm>
          <a:prstGeom prst="straightConnector1">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16" idx="1"/>
          </p:cNvCxnSpPr>
          <p:nvPr/>
        </p:nvCxnSpPr>
        <p:spPr>
          <a:xfrm rot="10800000">
            <a:off x="4216816" y="4680142"/>
            <a:ext cx="408766" cy="1142234"/>
          </a:xfrm>
          <a:prstGeom prst="bentConnector2">
            <a:avLst/>
          </a:prstGeom>
          <a:ln w="190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28" name="Freeform 40"/>
          <p:cNvSpPr>
            <a:spLocks noEditPoints="1"/>
          </p:cNvSpPr>
          <p:nvPr/>
        </p:nvSpPr>
        <p:spPr bwMode="auto">
          <a:xfrm>
            <a:off x="517525" y="2442221"/>
            <a:ext cx="1607040" cy="1211628"/>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96221106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4797"/>
          </a:xfrm>
        </p:spPr>
        <p:txBody>
          <a:bodyPr/>
          <a:lstStyle/>
          <a:p>
            <a:r>
              <a:rPr lang="en-US" sz="4800" dirty="0" smtClean="0"/>
              <a:t>Building a Scheduler Enabled Deployment</a:t>
            </a:r>
            <a:endParaRPr lang="en-US" sz="4800" dirty="0"/>
          </a:p>
        </p:txBody>
      </p:sp>
      <p:sp>
        <p:nvSpPr>
          <p:cNvPr id="3" name="Text Placeholder 2"/>
          <p:cNvSpPr>
            <a:spLocks noGrp="1"/>
          </p:cNvSpPr>
          <p:nvPr>
            <p:ph type="body" sz="quarter" idx="10"/>
          </p:nvPr>
        </p:nvSpPr>
        <p:spPr>
          <a:xfrm>
            <a:off x="519112" y="1417319"/>
            <a:ext cx="11149013" cy="2808461"/>
          </a:xfrm>
        </p:spPr>
        <p:txBody>
          <a:bodyPr/>
          <a:lstStyle/>
          <a:p>
            <a:r>
              <a:rPr lang="en-US" dirty="0" smtClean="0">
                <a:solidFill>
                  <a:schemeClr val="accent2">
                    <a:alpha val="99000"/>
                  </a:schemeClr>
                </a:solidFill>
              </a:rPr>
              <a:t>Azure Subscription</a:t>
            </a:r>
          </a:p>
          <a:p>
            <a:r>
              <a:rPr lang="en-US" dirty="0" smtClean="0">
                <a:solidFill>
                  <a:schemeClr val="accent2">
                    <a:alpha val="99000"/>
                  </a:schemeClr>
                </a:solidFill>
              </a:rPr>
              <a:t>Your application</a:t>
            </a:r>
          </a:p>
          <a:p>
            <a:r>
              <a:rPr lang="en-US" dirty="0" smtClean="0">
                <a:solidFill>
                  <a:schemeClr val="accent2">
                    <a:alpha val="99000"/>
                  </a:schemeClr>
                </a:solidFill>
              </a:rPr>
              <a:t>Construct a base CS Package</a:t>
            </a:r>
          </a:p>
          <a:p>
            <a:r>
              <a:rPr lang="en-US" dirty="0" smtClean="0">
                <a:solidFill>
                  <a:schemeClr val="accent2">
                    <a:alpha val="99000"/>
                  </a:schemeClr>
                </a:solidFill>
              </a:rPr>
              <a:t>Customize and Deploy</a:t>
            </a:r>
            <a:endParaRPr lang="en-US" dirty="0">
              <a:solidFill>
                <a:schemeClr val="accent2">
                  <a:alpha val="99000"/>
                </a:schemeClr>
              </a:solidFill>
            </a:endParaRPr>
          </a:p>
        </p:txBody>
      </p:sp>
      <p:sp>
        <p:nvSpPr>
          <p:cNvPr id="6" name="Freeform 15"/>
          <p:cNvSpPr>
            <a:spLocks noEditPoints="1"/>
          </p:cNvSpPr>
          <p:nvPr/>
        </p:nvSpPr>
        <p:spPr bwMode="black">
          <a:xfrm>
            <a:off x="7725697" y="2936240"/>
            <a:ext cx="2719749" cy="272288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3008985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ctrTitle"/>
          </p:nvPr>
        </p:nvSpPr>
        <p:spPr>
          <a:xfrm>
            <a:off x="1554480" y="907257"/>
            <a:ext cx="5943600" cy="2215991"/>
          </a:xfrm>
        </p:spPr>
        <p:txBody>
          <a:bodyPr/>
          <a:lstStyle/>
          <a:p>
            <a:r>
              <a:rPr lang="en-US" dirty="0"/>
              <a:t>Using Visual Studio and </a:t>
            </a:r>
            <a:r>
              <a:rPr lang="en-US" dirty="0" smtClean="0"/>
              <a:t>Helper </a:t>
            </a:r>
            <a:r>
              <a:rPr lang="en-US" dirty="0"/>
              <a:t>S</a:t>
            </a:r>
            <a:r>
              <a:rPr lang="en-US" dirty="0" smtClean="0"/>
              <a:t>cripts </a:t>
            </a:r>
            <a:r>
              <a:rPr lang="en-US" dirty="0"/>
              <a:t>to </a:t>
            </a:r>
            <a:r>
              <a:rPr lang="en-US" dirty="0" smtClean="0"/>
              <a:t>Build a </a:t>
            </a:r>
            <a:r>
              <a:rPr lang="en-US" dirty="0"/>
              <a:t>R</a:t>
            </a:r>
            <a:r>
              <a:rPr lang="en-US" dirty="0" smtClean="0"/>
              <a:t>endering Farm</a:t>
            </a:r>
            <a:endParaRPr lang="en-US" dirty="0"/>
          </a:p>
        </p:txBody>
      </p:sp>
      <p:sp>
        <p:nvSpPr>
          <p:cNvPr id="6" name="Subtitle 5"/>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a:xfrm>
            <a:off x="1554480" y="4206240"/>
            <a:ext cx="8872538" cy="1015663"/>
          </a:xfrm>
        </p:spPr>
        <p:txBody>
          <a:bodyPr/>
          <a:lstStyle/>
          <a:p>
            <a:r>
              <a:rPr lang="en-US" dirty="0"/>
              <a:t>demo </a:t>
            </a:r>
          </a:p>
        </p:txBody>
      </p:sp>
      <p:grpSp>
        <p:nvGrpSpPr>
          <p:cNvPr id="2" name="Group 1"/>
          <p:cNvGrpSpPr/>
          <p:nvPr/>
        </p:nvGrpSpPr>
        <p:grpSpPr>
          <a:xfrm>
            <a:off x="7851037" y="2403413"/>
            <a:ext cx="2732657" cy="2401112"/>
            <a:chOff x="7192504" y="1309371"/>
            <a:chExt cx="4078469" cy="3583642"/>
          </a:xfrm>
        </p:grpSpPr>
        <p:sp>
          <p:nvSpPr>
            <p:cNvPr id="8" name="Freeform 131"/>
            <p:cNvSpPr>
              <a:spLocks noEditPoints="1"/>
            </p:cNvSpPr>
            <p:nvPr/>
          </p:nvSpPr>
          <p:spPr bwMode="black">
            <a:xfrm>
              <a:off x="8247283" y="3111623"/>
              <a:ext cx="3023690" cy="1781390"/>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 name="Freeform 121"/>
            <p:cNvSpPr>
              <a:spLocks/>
            </p:cNvSpPr>
            <p:nvPr/>
          </p:nvSpPr>
          <p:spPr bwMode="black">
            <a:xfrm>
              <a:off x="7192504" y="1309371"/>
              <a:ext cx="1814872" cy="2437617"/>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4144512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Behind the </a:t>
            </a:r>
            <a:r>
              <a:rPr lang="en-US" dirty="0" smtClean="0"/>
              <a:t>Scenes </a:t>
            </a:r>
            <a:br>
              <a:rPr lang="en-US" dirty="0" smtClean="0"/>
            </a:br>
            <a:r>
              <a:rPr lang="en-US" dirty="0" smtClean="0"/>
              <a:t>of </a:t>
            </a:r>
            <a:r>
              <a:rPr lang="en-US" dirty="0"/>
              <a:t>the </a:t>
            </a:r>
            <a:r>
              <a:rPr lang="en-US" dirty="0" smtClean="0"/>
              <a:t>Rendering</a:t>
            </a:r>
            <a:endParaRPr lang="en-US" dirty="0"/>
          </a:p>
        </p:txBody>
      </p:sp>
      <p:sp>
        <p:nvSpPr>
          <p:cNvPr id="6" name="Subtitle 5"/>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a:xfrm>
            <a:off x="1554480" y="4206240"/>
            <a:ext cx="8872538" cy="1015663"/>
          </a:xfrm>
        </p:spPr>
        <p:txBody>
          <a:bodyPr/>
          <a:lstStyle/>
          <a:p>
            <a:r>
              <a:rPr lang="en-US" dirty="0"/>
              <a:t>demo </a:t>
            </a:r>
          </a:p>
        </p:txBody>
      </p:sp>
      <p:grpSp>
        <p:nvGrpSpPr>
          <p:cNvPr id="8" name="Group 7"/>
          <p:cNvGrpSpPr/>
          <p:nvPr/>
        </p:nvGrpSpPr>
        <p:grpSpPr bwMode="black">
          <a:xfrm>
            <a:off x="7334654" y="2504613"/>
            <a:ext cx="3180945" cy="2194436"/>
            <a:chOff x="5687773" y="4282519"/>
            <a:chExt cx="610739" cy="421442"/>
          </a:xfrm>
        </p:grpSpPr>
        <p:sp>
          <p:nvSpPr>
            <p:cNvPr id="9" name="Freeform 119"/>
            <p:cNvSpPr>
              <a:spLocks/>
            </p:cNvSpPr>
            <p:nvPr/>
          </p:nvSpPr>
          <p:spPr bwMode="black">
            <a:xfrm>
              <a:off x="6110772" y="4282519"/>
              <a:ext cx="187740" cy="253956"/>
            </a:xfrm>
            <a:custGeom>
              <a:avLst/>
              <a:gdLst>
                <a:gd name="T0" fmla="*/ 102 w 102"/>
                <a:gd name="T1" fmla="*/ 138 h 138"/>
                <a:gd name="T2" fmla="*/ 102 w 102"/>
                <a:gd name="T3" fmla="*/ 123 h 138"/>
                <a:gd name="T4" fmla="*/ 102 w 102"/>
                <a:gd name="T5" fmla="*/ 123 h 138"/>
                <a:gd name="T6" fmla="*/ 102 w 102"/>
                <a:gd name="T7" fmla="*/ 115 h 138"/>
                <a:gd name="T8" fmla="*/ 84 w 102"/>
                <a:gd name="T9" fmla="*/ 94 h 138"/>
                <a:gd name="T10" fmla="*/ 68 w 102"/>
                <a:gd name="T11" fmla="*/ 58 h 138"/>
                <a:gd name="T12" fmla="*/ 68 w 102"/>
                <a:gd name="T13" fmla="*/ 58 h 138"/>
                <a:gd name="T14" fmla="*/ 68 w 102"/>
                <a:gd name="T15" fmla="*/ 22 h 138"/>
                <a:gd name="T16" fmla="*/ 68 w 102"/>
                <a:gd name="T17" fmla="*/ 7 h 138"/>
                <a:gd name="T18" fmla="*/ 50 w 102"/>
                <a:gd name="T19" fmla="*/ 0 h 138"/>
                <a:gd name="T20" fmla="*/ 32 w 102"/>
                <a:gd name="T21" fmla="*/ 7 h 138"/>
                <a:gd name="T22" fmla="*/ 32 w 102"/>
                <a:gd name="T23" fmla="*/ 22 h 138"/>
                <a:gd name="T24" fmla="*/ 32 w 102"/>
                <a:gd name="T25" fmla="*/ 58 h 138"/>
                <a:gd name="T26" fmla="*/ 32 w 102"/>
                <a:gd name="T27" fmla="*/ 58 h 138"/>
                <a:gd name="T28" fmla="*/ 15 w 102"/>
                <a:gd name="T29" fmla="*/ 94 h 138"/>
                <a:gd name="T30" fmla="*/ 0 w 102"/>
                <a:gd name="T31" fmla="*/ 112 h 138"/>
                <a:gd name="T32" fmla="*/ 0 w 102"/>
                <a:gd name="T33" fmla="*/ 138 h 138"/>
                <a:gd name="T34" fmla="*/ 102 w 102"/>
                <a:gd name="T3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138">
                  <a:moveTo>
                    <a:pt x="102" y="138"/>
                  </a:moveTo>
                  <a:cubicBezTo>
                    <a:pt x="102" y="123"/>
                    <a:pt x="102" y="123"/>
                    <a:pt x="102" y="123"/>
                  </a:cubicBezTo>
                  <a:cubicBezTo>
                    <a:pt x="102" y="123"/>
                    <a:pt x="102" y="123"/>
                    <a:pt x="102" y="123"/>
                  </a:cubicBezTo>
                  <a:cubicBezTo>
                    <a:pt x="102" y="115"/>
                    <a:pt x="102" y="115"/>
                    <a:pt x="102" y="115"/>
                  </a:cubicBezTo>
                  <a:cubicBezTo>
                    <a:pt x="102" y="103"/>
                    <a:pt x="97" y="94"/>
                    <a:pt x="84" y="94"/>
                  </a:cubicBezTo>
                  <a:cubicBezTo>
                    <a:pt x="68" y="94"/>
                    <a:pt x="68" y="79"/>
                    <a:pt x="68" y="58"/>
                  </a:cubicBezTo>
                  <a:cubicBezTo>
                    <a:pt x="68" y="58"/>
                    <a:pt x="68" y="58"/>
                    <a:pt x="68" y="58"/>
                  </a:cubicBezTo>
                  <a:cubicBezTo>
                    <a:pt x="68" y="22"/>
                    <a:pt x="68" y="22"/>
                    <a:pt x="68" y="22"/>
                  </a:cubicBezTo>
                  <a:cubicBezTo>
                    <a:pt x="68" y="7"/>
                    <a:pt x="68" y="7"/>
                    <a:pt x="68" y="7"/>
                  </a:cubicBezTo>
                  <a:cubicBezTo>
                    <a:pt x="68" y="3"/>
                    <a:pt x="60" y="0"/>
                    <a:pt x="50" y="0"/>
                  </a:cubicBezTo>
                  <a:cubicBezTo>
                    <a:pt x="40" y="0"/>
                    <a:pt x="32" y="3"/>
                    <a:pt x="32" y="7"/>
                  </a:cubicBezTo>
                  <a:cubicBezTo>
                    <a:pt x="32" y="22"/>
                    <a:pt x="32" y="22"/>
                    <a:pt x="32" y="22"/>
                  </a:cubicBezTo>
                  <a:cubicBezTo>
                    <a:pt x="32" y="58"/>
                    <a:pt x="32" y="58"/>
                    <a:pt x="32" y="58"/>
                  </a:cubicBezTo>
                  <a:cubicBezTo>
                    <a:pt x="32" y="58"/>
                    <a:pt x="32" y="58"/>
                    <a:pt x="32" y="58"/>
                  </a:cubicBezTo>
                  <a:cubicBezTo>
                    <a:pt x="32" y="83"/>
                    <a:pt x="34" y="94"/>
                    <a:pt x="15" y="94"/>
                  </a:cubicBezTo>
                  <a:cubicBezTo>
                    <a:pt x="5" y="94"/>
                    <a:pt x="0" y="102"/>
                    <a:pt x="0" y="112"/>
                  </a:cubicBezTo>
                  <a:cubicBezTo>
                    <a:pt x="0" y="113"/>
                    <a:pt x="0" y="138"/>
                    <a:pt x="0" y="138"/>
                  </a:cubicBezTo>
                  <a:lnTo>
                    <a:pt x="102" y="13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0"/>
            <p:cNvSpPr>
              <a:spLocks/>
            </p:cNvSpPr>
            <p:nvPr/>
          </p:nvSpPr>
          <p:spPr bwMode="black">
            <a:xfrm>
              <a:off x="6110772" y="4553613"/>
              <a:ext cx="187740" cy="147232"/>
            </a:xfrm>
            <a:custGeom>
              <a:avLst/>
              <a:gdLst>
                <a:gd name="T0" fmla="*/ 102 w 102"/>
                <a:gd name="T1" fmla="*/ 0 h 80"/>
                <a:gd name="T2" fmla="*/ 0 w 102"/>
                <a:gd name="T3" fmla="*/ 0 h 80"/>
                <a:gd name="T4" fmla="*/ 0 w 102"/>
                <a:gd name="T5" fmla="*/ 77 h 80"/>
                <a:gd name="T6" fmla="*/ 4 w 102"/>
                <a:gd name="T7" fmla="*/ 80 h 80"/>
                <a:gd name="T8" fmla="*/ 7 w 102"/>
                <a:gd name="T9" fmla="*/ 78 h 80"/>
                <a:gd name="T10" fmla="*/ 10 w 102"/>
                <a:gd name="T11" fmla="*/ 80 h 80"/>
                <a:gd name="T12" fmla="*/ 13 w 102"/>
                <a:gd name="T13" fmla="*/ 77 h 80"/>
                <a:gd name="T14" fmla="*/ 17 w 102"/>
                <a:gd name="T15" fmla="*/ 80 h 80"/>
                <a:gd name="T16" fmla="*/ 20 w 102"/>
                <a:gd name="T17" fmla="*/ 78 h 80"/>
                <a:gd name="T18" fmla="*/ 23 w 102"/>
                <a:gd name="T19" fmla="*/ 80 h 80"/>
                <a:gd name="T20" fmla="*/ 26 w 102"/>
                <a:gd name="T21" fmla="*/ 78 h 80"/>
                <a:gd name="T22" fmla="*/ 29 w 102"/>
                <a:gd name="T23" fmla="*/ 80 h 80"/>
                <a:gd name="T24" fmla="*/ 32 w 102"/>
                <a:gd name="T25" fmla="*/ 78 h 80"/>
                <a:gd name="T26" fmla="*/ 35 w 102"/>
                <a:gd name="T27" fmla="*/ 80 h 80"/>
                <a:gd name="T28" fmla="*/ 38 w 102"/>
                <a:gd name="T29" fmla="*/ 77 h 80"/>
                <a:gd name="T30" fmla="*/ 42 w 102"/>
                <a:gd name="T31" fmla="*/ 80 h 80"/>
                <a:gd name="T32" fmla="*/ 45 w 102"/>
                <a:gd name="T33" fmla="*/ 78 h 80"/>
                <a:gd name="T34" fmla="*/ 48 w 102"/>
                <a:gd name="T35" fmla="*/ 80 h 80"/>
                <a:gd name="T36" fmla="*/ 51 w 102"/>
                <a:gd name="T37" fmla="*/ 78 h 80"/>
                <a:gd name="T38" fmla="*/ 54 w 102"/>
                <a:gd name="T39" fmla="*/ 80 h 80"/>
                <a:gd name="T40" fmla="*/ 57 w 102"/>
                <a:gd name="T41" fmla="*/ 78 h 80"/>
                <a:gd name="T42" fmla="*/ 60 w 102"/>
                <a:gd name="T43" fmla="*/ 80 h 80"/>
                <a:gd name="T44" fmla="*/ 64 w 102"/>
                <a:gd name="T45" fmla="*/ 77 h 80"/>
                <a:gd name="T46" fmla="*/ 67 w 102"/>
                <a:gd name="T47" fmla="*/ 80 h 80"/>
                <a:gd name="T48" fmla="*/ 70 w 102"/>
                <a:gd name="T49" fmla="*/ 78 h 80"/>
                <a:gd name="T50" fmla="*/ 73 w 102"/>
                <a:gd name="T51" fmla="*/ 80 h 80"/>
                <a:gd name="T52" fmla="*/ 76 w 102"/>
                <a:gd name="T53" fmla="*/ 78 h 80"/>
                <a:gd name="T54" fmla="*/ 79 w 102"/>
                <a:gd name="T55" fmla="*/ 80 h 80"/>
                <a:gd name="T56" fmla="*/ 82 w 102"/>
                <a:gd name="T57" fmla="*/ 78 h 80"/>
                <a:gd name="T58" fmla="*/ 85 w 102"/>
                <a:gd name="T59" fmla="*/ 80 h 80"/>
                <a:gd name="T60" fmla="*/ 89 w 102"/>
                <a:gd name="T61" fmla="*/ 77 h 80"/>
                <a:gd name="T62" fmla="*/ 92 w 102"/>
                <a:gd name="T63" fmla="*/ 80 h 80"/>
                <a:gd name="T64" fmla="*/ 95 w 102"/>
                <a:gd name="T65" fmla="*/ 78 h 80"/>
                <a:gd name="T66" fmla="*/ 98 w 102"/>
                <a:gd name="T67" fmla="*/ 80 h 80"/>
                <a:gd name="T68" fmla="*/ 102 w 102"/>
                <a:gd name="T69" fmla="*/ 77 h 80"/>
                <a:gd name="T70" fmla="*/ 102 w 102"/>
                <a:gd name="T7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80">
                  <a:moveTo>
                    <a:pt x="102" y="0"/>
                  </a:moveTo>
                  <a:cubicBezTo>
                    <a:pt x="0" y="0"/>
                    <a:pt x="0" y="0"/>
                    <a:pt x="0" y="0"/>
                  </a:cubicBezTo>
                  <a:cubicBezTo>
                    <a:pt x="0" y="77"/>
                    <a:pt x="0" y="77"/>
                    <a:pt x="0" y="77"/>
                  </a:cubicBezTo>
                  <a:cubicBezTo>
                    <a:pt x="0" y="79"/>
                    <a:pt x="2" y="80"/>
                    <a:pt x="4" y="80"/>
                  </a:cubicBezTo>
                  <a:cubicBezTo>
                    <a:pt x="5" y="80"/>
                    <a:pt x="6" y="79"/>
                    <a:pt x="7" y="78"/>
                  </a:cubicBezTo>
                  <a:cubicBezTo>
                    <a:pt x="7" y="79"/>
                    <a:pt x="8" y="80"/>
                    <a:pt x="10" y="80"/>
                  </a:cubicBezTo>
                  <a:cubicBezTo>
                    <a:pt x="12" y="80"/>
                    <a:pt x="13" y="79"/>
                    <a:pt x="13" y="77"/>
                  </a:cubicBezTo>
                  <a:cubicBezTo>
                    <a:pt x="13" y="79"/>
                    <a:pt x="15" y="80"/>
                    <a:pt x="17" y="80"/>
                  </a:cubicBezTo>
                  <a:cubicBezTo>
                    <a:pt x="18" y="80"/>
                    <a:pt x="19" y="79"/>
                    <a:pt x="20" y="78"/>
                  </a:cubicBezTo>
                  <a:cubicBezTo>
                    <a:pt x="20" y="79"/>
                    <a:pt x="21" y="80"/>
                    <a:pt x="23" y="80"/>
                  </a:cubicBezTo>
                  <a:cubicBezTo>
                    <a:pt x="24" y="80"/>
                    <a:pt x="25" y="79"/>
                    <a:pt x="26" y="78"/>
                  </a:cubicBezTo>
                  <a:cubicBezTo>
                    <a:pt x="26" y="79"/>
                    <a:pt x="27" y="80"/>
                    <a:pt x="29" y="80"/>
                  </a:cubicBezTo>
                  <a:cubicBezTo>
                    <a:pt x="30" y="80"/>
                    <a:pt x="31" y="79"/>
                    <a:pt x="32" y="78"/>
                  </a:cubicBezTo>
                  <a:cubicBezTo>
                    <a:pt x="32" y="79"/>
                    <a:pt x="33" y="80"/>
                    <a:pt x="35" y="80"/>
                  </a:cubicBezTo>
                  <a:cubicBezTo>
                    <a:pt x="37" y="80"/>
                    <a:pt x="38" y="79"/>
                    <a:pt x="38" y="77"/>
                  </a:cubicBezTo>
                  <a:cubicBezTo>
                    <a:pt x="38" y="79"/>
                    <a:pt x="40" y="80"/>
                    <a:pt x="42" y="80"/>
                  </a:cubicBezTo>
                  <a:cubicBezTo>
                    <a:pt x="43" y="80"/>
                    <a:pt x="44" y="79"/>
                    <a:pt x="45" y="78"/>
                  </a:cubicBezTo>
                  <a:cubicBezTo>
                    <a:pt x="45" y="79"/>
                    <a:pt x="46" y="80"/>
                    <a:pt x="48" y="80"/>
                  </a:cubicBezTo>
                  <a:cubicBezTo>
                    <a:pt x="49" y="80"/>
                    <a:pt x="51" y="79"/>
                    <a:pt x="51" y="78"/>
                  </a:cubicBezTo>
                  <a:cubicBezTo>
                    <a:pt x="51" y="79"/>
                    <a:pt x="53" y="80"/>
                    <a:pt x="54" y="80"/>
                  </a:cubicBezTo>
                  <a:cubicBezTo>
                    <a:pt x="56" y="80"/>
                    <a:pt x="57" y="79"/>
                    <a:pt x="57" y="78"/>
                  </a:cubicBezTo>
                  <a:cubicBezTo>
                    <a:pt x="58" y="79"/>
                    <a:pt x="59" y="80"/>
                    <a:pt x="60" y="80"/>
                  </a:cubicBezTo>
                  <a:cubicBezTo>
                    <a:pt x="62" y="80"/>
                    <a:pt x="64" y="79"/>
                    <a:pt x="64" y="77"/>
                  </a:cubicBezTo>
                  <a:cubicBezTo>
                    <a:pt x="64" y="79"/>
                    <a:pt x="65" y="80"/>
                    <a:pt x="67" y="80"/>
                  </a:cubicBezTo>
                  <a:cubicBezTo>
                    <a:pt x="69" y="80"/>
                    <a:pt x="70" y="79"/>
                    <a:pt x="70" y="78"/>
                  </a:cubicBezTo>
                  <a:cubicBezTo>
                    <a:pt x="71" y="79"/>
                    <a:pt x="72" y="80"/>
                    <a:pt x="73" y="80"/>
                  </a:cubicBezTo>
                  <a:cubicBezTo>
                    <a:pt x="75" y="80"/>
                    <a:pt x="76" y="79"/>
                    <a:pt x="76" y="78"/>
                  </a:cubicBezTo>
                  <a:cubicBezTo>
                    <a:pt x="77" y="79"/>
                    <a:pt x="78" y="80"/>
                    <a:pt x="79" y="80"/>
                  </a:cubicBezTo>
                  <a:cubicBezTo>
                    <a:pt x="81" y="80"/>
                    <a:pt x="82" y="79"/>
                    <a:pt x="82" y="78"/>
                  </a:cubicBezTo>
                  <a:cubicBezTo>
                    <a:pt x="83" y="79"/>
                    <a:pt x="84" y="80"/>
                    <a:pt x="85" y="80"/>
                  </a:cubicBezTo>
                  <a:cubicBezTo>
                    <a:pt x="87" y="80"/>
                    <a:pt x="89" y="79"/>
                    <a:pt x="89" y="77"/>
                  </a:cubicBezTo>
                  <a:cubicBezTo>
                    <a:pt x="89" y="79"/>
                    <a:pt x="90" y="80"/>
                    <a:pt x="92" y="80"/>
                  </a:cubicBezTo>
                  <a:cubicBezTo>
                    <a:pt x="94" y="80"/>
                    <a:pt x="95" y="79"/>
                    <a:pt x="95" y="78"/>
                  </a:cubicBezTo>
                  <a:cubicBezTo>
                    <a:pt x="96" y="79"/>
                    <a:pt x="97" y="80"/>
                    <a:pt x="98" y="80"/>
                  </a:cubicBezTo>
                  <a:cubicBezTo>
                    <a:pt x="100" y="80"/>
                    <a:pt x="102" y="79"/>
                    <a:pt x="102" y="77"/>
                  </a:cubicBezTo>
                  <a:lnTo>
                    <a:pt x="102"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1"/>
            <p:cNvSpPr>
              <a:spLocks noEditPoints="1"/>
            </p:cNvSpPr>
            <p:nvPr/>
          </p:nvSpPr>
          <p:spPr bwMode="black">
            <a:xfrm>
              <a:off x="5687773" y="4437541"/>
              <a:ext cx="406640" cy="266420"/>
            </a:xfrm>
            <a:custGeom>
              <a:avLst/>
              <a:gdLst>
                <a:gd name="T0" fmla="*/ 200 w 221"/>
                <a:gd name="T1" fmla="*/ 0 h 145"/>
                <a:gd name="T2" fmla="*/ 79 w 221"/>
                <a:gd name="T3" fmla="*/ 0 h 145"/>
                <a:gd name="T4" fmla="*/ 57 w 221"/>
                <a:gd name="T5" fmla="*/ 10 h 145"/>
                <a:gd name="T6" fmla="*/ 57 w 221"/>
                <a:gd name="T7" fmla="*/ 29 h 145"/>
                <a:gd name="T8" fmla="*/ 4 w 221"/>
                <a:gd name="T9" fmla="*/ 76 h 145"/>
                <a:gd name="T10" fmla="*/ 57 w 221"/>
                <a:gd name="T11" fmla="*/ 67 h 145"/>
                <a:gd name="T12" fmla="*/ 57 w 221"/>
                <a:gd name="T13" fmla="*/ 127 h 145"/>
                <a:gd name="T14" fmla="*/ 79 w 221"/>
                <a:gd name="T15" fmla="*/ 145 h 145"/>
                <a:gd name="T16" fmla="*/ 200 w 221"/>
                <a:gd name="T17" fmla="*/ 145 h 145"/>
                <a:gd name="T18" fmla="*/ 221 w 221"/>
                <a:gd name="T19" fmla="*/ 127 h 145"/>
                <a:gd name="T20" fmla="*/ 221 w 221"/>
                <a:gd name="T21" fmla="*/ 10 h 145"/>
                <a:gd name="T22" fmla="*/ 200 w 221"/>
                <a:gd name="T23" fmla="*/ 0 h 145"/>
                <a:gd name="T24" fmla="*/ 18 w 221"/>
                <a:gd name="T25" fmla="*/ 67 h 145"/>
                <a:gd name="T26" fmla="*/ 57 w 221"/>
                <a:gd name="T27" fmla="*/ 34 h 145"/>
                <a:gd name="T28" fmla="*/ 57 w 221"/>
                <a:gd name="T29" fmla="*/ 57 h 145"/>
                <a:gd name="T30" fmla="*/ 18 w 221"/>
                <a:gd name="T31" fmla="*/ 6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145">
                  <a:moveTo>
                    <a:pt x="200" y="0"/>
                  </a:moveTo>
                  <a:cubicBezTo>
                    <a:pt x="79" y="0"/>
                    <a:pt x="79" y="0"/>
                    <a:pt x="79" y="0"/>
                  </a:cubicBezTo>
                  <a:cubicBezTo>
                    <a:pt x="67" y="0"/>
                    <a:pt x="57" y="0"/>
                    <a:pt x="57" y="10"/>
                  </a:cubicBezTo>
                  <a:cubicBezTo>
                    <a:pt x="57" y="29"/>
                    <a:pt x="57" y="29"/>
                    <a:pt x="57" y="29"/>
                  </a:cubicBezTo>
                  <a:cubicBezTo>
                    <a:pt x="22" y="49"/>
                    <a:pt x="0" y="68"/>
                    <a:pt x="4" y="76"/>
                  </a:cubicBezTo>
                  <a:cubicBezTo>
                    <a:pt x="8" y="83"/>
                    <a:pt x="24" y="81"/>
                    <a:pt x="57" y="67"/>
                  </a:cubicBezTo>
                  <a:cubicBezTo>
                    <a:pt x="57" y="127"/>
                    <a:pt x="57" y="127"/>
                    <a:pt x="57" y="127"/>
                  </a:cubicBezTo>
                  <a:cubicBezTo>
                    <a:pt x="57" y="137"/>
                    <a:pt x="67" y="145"/>
                    <a:pt x="79" y="145"/>
                  </a:cubicBezTo>
                  <a:cubicBezTo>
                    <a:pt x="200" y="145"/>
                    <a:pt x="200" y="145"/>
                    <a:pt x="200" y="145"/>
                  </a:cubicBezTo>
                  <a:cubicBezTo>
                    <a:pt x="212" y="145"/>
                    <a:pt x="221" y="137"/>
                    <a:pt x="221" y="127"/>
                  </a:cubicBezTo>
                  <a:cubicBezTo>
                    <a:pt x="221" y="10"/>
                    <a:pt x="221" y="10"/>
                    <a:pt x="221" y="10"/>
                  </a:cubicBezTo>
                  <a:cubicBezTo>
                    <a:pt x="221" y="0"/>
                    <a:pt x="212" y="0"/>
                    <a:pt x="200" y="0"/>
                  </a:cubicBezTo>
                  <a:close/>
                  <a:moveTo>
                    <a:pt x="18" y="67"/>
                  </a:moveTo>
                  <a:cubicBezTo>
                    <a:pt x="15" y="62"/>
                    <a:pt x="31" y="49"/>
                    <a:pt x="57" y="34"/>
                  </a:cubicBezTo>
                  <a:cubicBezTo>
                    <a:pt x="57" y="57"/>
                    <a:pt x="57" y="57"/>
                    <a:pt x="57" y="57"/>
                  </a:cubicBezTo>
                  <a:cubicBezTo>
                    <a:pt x="32" y="68"/>
                    <a:pt x="20" y="71"/>
                    <a:pt x="18" y="6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2"/>
            <p:cNvSpPr>
              <a:spLocks/>
            </p:cNvSpPr>
            <p:nvPr/>
          </p:nvSpPr>
          <p:spPr bwMode="black">
            <a:xfrm>
              <a:off x="5792938" y="4389243"/>
              <a:ext cx="301475" cy="33497"/>
            </a:xfrm>
            <a:custGeom>
              <a:avLst/>
              <a:gdLst>
                <a:gd name="T0" fmla="*/ 143 w 164"/>
                <a:gd name="T1" fmla="*/ 0 h 18"/>
                <a:gd name="T2" fmla="*/ 22 w 164"/>
                <a:gd name="T3" fmla="*/ 0 h 18"/>
                <a:gd name="T4" fmla="*/ 0 w 164"/>
                <a:gd name="T5" fmla="*/ 1 h 18"/>
                <a:gd name="T6" fmla="*/ 0 w 164"/>
                <a:gd name="T7" fmla="*/ 16 h 18"/>
                <a:gd name="T8" fmla="*/ 22 w 164"/>
                <a:gd name="T9" fmla="*/ 18 h 18"/>
                <a:gd name="T10" fmla="*/ 143 w 164"/>
                <a:gd name="T11" fmla="*/ 18 h 18"/>
                <a:gd name="T12" fmla="*/ 164 w 164"/>
                <a:gd name="T13" fmla="*/ 16 h 18"/>
                <a:gd name="T14" fmla="*/ 164 w 164"/>
                <a:gd name="T15" fmla="*/ 1 h 18"/>
                <a:gd name="T16" fmla="*/ 143 w 164"/>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8">
                  <a:moveTo>
                    <a:pt x="143" y="0"/>
                  </a:moveTo>
                  <a:cubicBezTo>
                    <a:pt x="22" y="0"/>
                    <a:pt x="22" y="0"/>
                    <a:pt x="22" y="0"/>
                  </a:cubicBezTo>
                  <a:cubicBezTo>
                    <a:pt x="10" y="0"/>
                    <a:pt x="0" y="0"/>
                    <a:pt x="0" y="1"/>
                  </a:cubicBezTo>
                  <a:cubicBezTo>
                    <a:pt x="0" y="16"/>
                    <a:pt x="0" y="16"/>
                    <a:pt x="0" y="16"/>
                  </a:cubicBezTo>
                  <a:cubicBezTo>
                    <a:pt x="0" y="17"/>
                    <a:pt x="10" y="18"/>
                    <a:pt x="22" y="18"/>
                  </a:cubicBezTo>
                  <a:cubicBezTo>
                    <a:pt x="143" y="18"/>
                    <a:pt x="143" y="18"/>
                    <a:pt x="143" y="18"/>
                  </a:cubicBezTo>
                  <a:cubicBezTo>
                    <a:pt x="155" y="18"/>
                    <a:pt x="164" y="17"/>
                    <a:pt x="164" y="16"/>
                  </a:cubicBezTo>
                  <a:cubicBezTo>
                    <a:pt x="164" y="1"/>
                    <a:pt x="164" y="1"/>
                    <a:pt x="164" y="1"/>
                  </a:cubicBezTo>
                  <a:cubicBezTo>
                    <a:pt x="164" y="0"/>
                    <a:pt x="155" y="0"/>
                    <a:pt x="143"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19662827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Deploying </a:t>
            </a:r>
            <a:r>
              <a:rPr lang="en-US" dirty="0" smtClean="0"/>
              <a:t>Using </a:t>
            </a:r>
            <a:r>
              <a:rPr lang="en-US" dirty="0" smtClean="0"/>
              <a:t/>
            </a:r>
            <a:br>
              <a:rPr lang="en-US" dirty="0" smtClean="0"/>
            </a:br>
            <a:r>
              <a:rPr lang="en-US" dirty="0" err="1" smtClean="0"/>
              <a:t>Powershell</a:t>
            </a:r>
            <a:endParaRPr lang="en-US" dirty="0"/>
          </a:p>
        </p:txBody>
      </p:sp>
      <p:sp>
        <p:nvSpPr>
          <p:cNvPr id="4" name="Subtitle 3"/>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r>
              <a:rPr lang="en-US" smtClean="0"/>
              <a:t>demo </a:t>
            </a:r>
            <a:endParaRPr lang="en-US" dirty="0"/>
          </a:p>
        </p:txBody>
      </p:sp>
      <p:grpSp>
        <p:nvGrpSpPr>
          <p:cNvPr id="8" name="Group 7"/>
          <p:cNvGrpSpPr/>
          <p:nvPr/>
        </p:nvGrpSpPr>
        <p:grpSpPr>
          <a:xfrm>
            <a:off x="7451388" y="2934422"/>
            <a:ext cx="3311534" cy="1885904"/>
            <a:chOff x="5853213" y="1342263"/>
            <a:chExt cx="768565" cy="437693"/>
          </a:xfrm>
        </p:grpSpPr>
        <p:sp>
          <p:nvSpPr>
            <p:cNvPr id="9" name="Freeform 25"/>
            <p:cNvSpPr>
              <a:spLocks/>
            </p:cNvSpPr>
            <p:nvPr/>
          </p:nvSpPr>
          <p:spPr bwMode="black">
            <a:xfrm>
              <a:off x="5893403" y="1386355"/>
              <a:ext cx="153641" cy="147912"/>
            </a:xfrm>
            <a:custGeom>
              <a:avLst/>
              <a:gdLst>
                <a:gd name="T0" fmla="*/ 387 w 595"/>
                <a:gd name="T1" fmla="*/ 512 h 573"/>
                <a:gd name="T2" fmla="*/ 588 w 595"/>
                <a:gd name="T3" fmla="*/ 62 h 573"/>
                <a:gd name="T4" fmla="*/ 544 w 595"/>
                <a:gd name="T5" fmla="*/ 0 h 573"/>
                <a:gd name="T6" fmla="*/ 51 w 595"/>
                <a:gd name="T7" fmla="*/ 0 h 573"/>
                <a:gd name="T8" fmla="*/ 7 w 595"/>
                <a:gd name="T9" fmla="*/ 62 h 573"/>
                <a:gd name="T10" fmla="*/ 208 w 595"/>
                <a:gd name="T11" fmla="*/ 512 h 573"/>
                <a:gd name="T12" fmla="*/ 297 w 595"/>
                <a:gd name="T13" fmla="*/ 573 h 573"/>
                <a:gd name="T14" fmla="*/ 387 w 595"/>
                <a:gd name="T15" fmla="*/ 512 h 5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5" h="573">
                  <a:moveTo>
                    <a:pt x="387" y="512"/>
                  </a:moveTo>
                  <a:cubicBezTo>
                    <a:pt x="467" y="419"/>
                    <a:pt x="566" y="298"/>
                    <a:pt x="588" y="62"/>
                  </a:cubicBezTo>
                  <a:cubicBezTo>
                    <a:pt x="589" y="47"/>
                    <a:pt x="595" y="0"/>
                    <a:pt x="544" y="0"/>
                  </a:cubicBezTo>
                  <a:cubicBezTo>
                    <a:pt x="51" y="0"/>
                    <a:pt x="51" y="0"/>
                    <a:pt x="51" y="0"/>
                  </a:cubicBezTo>
                  <a:cubicBezTo>
                    <a:pt x="0" y="0"/>
                    <a:pt x="6" y="47"/>
                    <a:pt x="7" y="62"/>
                  </a:cubicBezTo>
                  <a:cubicBezTo>
                    <a:pt x="29" y="298"/>
                    <a:pt x="128" y="419"/>
                    <a:pt x="208" y="512"/>
                  </a:cubicBezTo>
                  <a:cubicBezTo>
                    <a:pt x="243" y="553"/>
                    <a:pt x="263" y="573"/>
                    <a:pt x="297" y="573"/>
                  </a:cubicBezTo>
                  <a:cubicBezTo>
                    <a:pt x="331" y="573"/>
                    <a:pt x="352" y="553"/>
                    <a:pt x="387" y="512"/>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0" name="Freeform 26"/>
            <p:cNvSpPr>
              <a:spLocks noEditPoints="1"/>
            </p:cNvSpPr>
            <p:nvPr/>
          </p:nvSpPr>
          <p:spPr bwMode="black">
            <a:xfrm>
              <a:off x="5853213" y="1342263"/>
              <a:ext cx="234020" cy="437693"/>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1" name="Freeform 27"/>
            <p:cNvSpPr>
              <a:spLocks/>
            </p:cNvSpPr>
            <p:nvPr/>
          </p:nvSpPr>
          <p:spPr bwMode="black">
            <a:xfrm>
              <a:off x="6160854" y="1666888"/>
              <a:ext cx="150440" cy="74668"/>
            </a:xfrm>
            <a:custGeom>
              <a:avLst/>
              <a:gdLst>
                <a:gd name="T0" fmla="*/ 0 w 583"/>
                <a:gd name="T1" fmla="*/ 239 h 288"/>
                <a:gd name="T2" fmla="*/ 45 w 583"/>
                <a:gd name="T3" fmla="*/ 288 h 288"/>
                <a:gd name="T4" fmla="*/ 538 w 583"/>
                <a:gd name="T5" fmla="*/ 288 h 288"/>
                <a:gd name="T6" fmla="*/ 583 w 583"/>
                <a:gd name="T7" fmla="*/ 239 h 288"/>
                <a:gd name="T8" fmla="*/ 291 w 583"/>
                <a:gd name="T9" fmla="*/ 0 h 288"/>
                <a:gd name="T10" fmla="*/ 0 w 583"/>
                <a:gd name="T11" fmla="*/ 239 h 288"/>
              </a:gdLst>
              <a:ahLst/>
              <a:cxnLst>
                <a:cxn ang="0">
                  <a:pos x="T0" y="T1"/>
                </a:cxn>
                <a:cxn ang="0">
                  <a:pos x="T2" y="T3"/>
                </a:cxn>
                <a:cxn ang="0">
                  <a:pos x="T4" y="T5"/>
                </a:cxn>
                <a:cxn ang="0">
                  <a:pos x="T6" y="T7"/>
                </a:cxn>
                <a:cxn ang="0">
                  <a:pos x="T8" y="T9"/>
                </a:cxn>
                <a:cxn ang="0">
                  <a:pos x="T10" y="T11"/>
                </a:cxn>
              </a:cxnLst>
              <a:rect l="0" t="0" r="r" b="b"/>
              <a:pathLst>
                <a:path w="583" h="288">
                  <a:moveTo>
                    <a:pt x="0" y="239"/>
                  </a:moveTo>
                  <a:cubicBezTo>
                    <a:pt x="0" y="259"/>
                    <a:pt x="5" y="288"/>
                    <a:pt x="45" y="288"/>
                  </a:cubicBezTo>
                  <a:cubicBezTo>
                    <a:pt x="538" y="288"/>
                    <a:pt x="538" y="288"/>
                    <a:pt x="538" y="288"/>
                  </a:cubicBezTo>
                  <a:cubicBezTo>
                    <a:pt x="577" y="288"/>
                    <a:pt x="583" y="259"/>
                    <a:pt x="583" y="239"/>
                  </a:cubicBezTo>
                  <a:cubicBezTo>
                    <a:pt x="582" y="219"/>
                    <a:pt x="554" y="0"/>
                    <a:pt x="291" y="0"/>
                  </a:cubicBezTo>
                  <a:cubicBezTo>
                    <a:pt x="28" y="0"/>
                    <a:pt x="0" y="219"/>
                    <a:pt x="0" y="239"/>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2" name="Freeform 28"/>
            <p:cNvSpPr>
              <a:spLocks/>
            </p:cNvSpPr>
            <p:nvPr/>
          </p:nvSpPr>
          <p:spPr bwMode="black">
            <a:xfrm>
              <a:off x="6164053" y="1417289"/>
              <a:ext cx="143683" cy="116979"/>
            </a:xfrm>
            <a:custGeom>
              <a:avLst/>
              <a:gdLst>
                <a:gd name="T0" fmla="*/ 368 w 556"/>
                <a:gd name="T1" fmla="*/ 392 h 453"/>
                <a:gd name="T2" fmla="*/ 546 w 556"/>
                <a:gd name="T3" fmla="*/ 71 h 453"/>
                <a:gd name="T4" fmla="*/ 493 w 556"/>
                <a:gd name="T5" fmla="*/ 0 h 453"/>
                <a:gd name="T6" fmla="*/ 64 w 556"/>
                <a:gd name="T7" fmla="*/ 0 h 453"/>
                <a:gd name="T8" fmla="*/ 11 w 556"/>
                <a:gd name="T9" fmla="*/ 71 h 453"/>
                <a:gd name="T10" fmla="*/ 188 w 556"/>
                <a:gd name="T11" fmla="*/ 392 h 453"/>
                <a:gd name="T12" fmla="*/ 278 w 556"/>
                <a:gd name="T13" fmla="*/ 453 h 453"/>
                <a:gd name="T14" fmla="*/ 368 w 556"/>
                <a:gd name="T15" fmla="*/ 392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453">
                  <a:moveTo>
                    <a:pt x="368" y="392"/>
                  </a:moveTo>
                  <a:cubicBezTo>
                    <a:pt x="432" y="318"/>
                    <a:pt x="507" y="224"/>
                    <a:pt x="546" y="71"/>
                  </a:cubicBezTo>
                  <a:cubicBezTo>
                    <a:pt x="556" y="31"/>
                    <a:pt x="544" y="0"/>
                    <a:pt x="493" y="0"/>
                  </a:cubicBezTo>
                  <a:cubicBezTo>
                    <a:pt x="64" y="0"/>
                    <a:pt x="64" y="0"/>
                    <a:pt x="64" y="0"/>
                  </a:cubicBezTo>
                  <a:cubicBezTo>
                    <a:pt x="13" y="0"/>
                    <a:pt x="0" y="31"/>
                    <a:pt x="11" y="71"/>
                  </a:cubicBezTo>
                  <a:cubicBezTo>
                    <a:pt x="50" y="224"/>
                    <a:pt x="125" y="318"/>
                    <a:pt x="188" y="392"/>
                  </a:cubicBezTo>
                  <a:cubicBezTo>
                    <a:pt x="224" y="433"/>
                    <a:pt x="244" y="453"/>
                    <a:pt x="278" y="453"/>
                  </a:cubicBezTo>
                  <a:cubicBezTo>
                    <a:pt x="312" y="453"/>
                    <a:pt x="333" y="433"/>
                    <a:pt x="368" y="392"/>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3" name="Freeform 29"/>
            <p:cNvSpPr>
              <a:spLocks noEditPoints="1"/>
            </p:cNvSpPr>
            <p:nvPr/>
          </p:nvSpPr>
          <p:spPr bwMode="black">
            <a:xfrm>
              <a:off x="6118884" y="1342263"/>
              <a:ext cx="234020" cy="437693"/>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4" name="Freeform 30"/>
            <p:cNvSpPr>
              <a:spLocks/>
            </p:cNvSpPr>
            <p:nvPr/>
          </p:nvSpPr>
          <p:spPr bwMode="black">
            <a:xfrm>
              <a:off x="6427948" y="1595779"/>
              <a:ext cx="153641" cy="145779"/>
            </a:xfrm>
            <a:custGeom>
              <a:avLst/>
              <a:gdLst>
                <a:gd name="T0" fmla="*/ 297 w 594"/>
                <a:gd name="T1" fmla="*/ 0 h 563"/>
                <a:gd name="T2" fmla="*/ 188 w 594"/>
                <a:gd name="T3" fmla="*/ 50 h 563"/>
                <a:gd name="T4" fmla="*/ 7 w 594"/>
                <a:gd name="T5" fmla="*/ 500 h 563"/>
                <a:gd name="T6" fmla="*/ 51 w 594"/>
                <a:gd name="T7" fmla="*/ 563 h 563"/>
                <a:gd name="T8" fmla="*/ 544 w 594"/>
                <a:gd name="T9" fmla="*/ 563 h 563"/>
                <a:gd name="T10" fmla="*/ 588 w 594"/>
                <a:gd name="T11" fmla="*/ 500 h 563"/>
                <a:gd name="T12" fmla="*/ 407 w 594"/>
                <a:gd name="T13" fmla="*/ 50 h 563"/>
                <a:gd name="T14" fmla="*/ 297 w 594"/>
                <a:gd name="T15" fmla="*/ 0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4" h="563">
                  <a:moveTo>
                    <a:pt x="297" y="0"/>
                  </a:moveTo>
                  <a:cubicBezTo>
                    <a:pt x="254" y="0"/>
                    <a:pt x="214" y="19"/>
                    <a:pt x="188" y="50"/>
                  </a:cubicBezTo>
                  <a:cubicBezTo>
                    <a:pt x="109" y="141"/>
                    <a:pt x="27" y="283"/>
                    <a:pt x="7" y="500"/>
                  </a:cubicBezTo>
                  <a:cubicBezTo>
                    <a:pt x="6" y="516"/>
                    <a:pt x="0" y="563"/>
                    <a:pt x="51" y="563"/>
                  </a:cubicBezTo>
                  <a:cubicBezTo>
                    <a:pt x="544" y="563"/>
                    <a:pt x="544" y="563"/>
                    <a:pt x="544" y="563"/>
                  </a:cubicBezTo>
                  <a:cubicBezTo>
                    <a:pt x="594" y="563"/>
                    <a:pt x="589" y="516"/>
                    <a:pt x="588" y="500"/>
                  </a:cubicBezTo>
                  <a:cubicBezTo>
                    <a:pt x="567" y="283"/>
                    <a:pt x="485" y="141"/>
                    <a:pt x="407" y="50"/>
                  </a:cubicBezTo>
                  <a:cubicBezTo>
                    <a:pt x="380" y="19"/>
                    <a:pt x="341" y="0"/>
                    <a:pt x="297" y="0"/>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5" name="Freeform 31"/>
            <p:cNvSpPr>
              <a:spLocks noEditPoints="1"/>
            </p:cNvSpPr>
            <p:nvPr/>
          </p:nvSpPr>
          <p:spPr bwMode="black">
            <a:xfrm>
              <a:off x="6387758" y="1342263"/>
              <a:ext cx="234020" cy="437693"/>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3 w 905"/>
                <a:gd name="T39" fmla="*/ 1522 h 1693"/>
                <a:gd name="T40" fmla="*/ 329 w 905"/>
                <a:gd name="T41" fmla="*/ 1019 h 1693"/>
                <a:gd name="T42" fmla="*/ 428 w 905"/>
                <a:gd name="T43" fmla="*/ 845 h 1693"/>
                <a:gd name="T44" fmla="*/ 329 w 905"/>
                <a:gd name="T45" fmla="*/ 670 h 1693"/>
                <a:gd name="T46" fmla="*/ 113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5 w 905"/>
                <a:gd name="T59" fmla="*/ 670 h 1693"/>
                <a:gd name="T60" fmla="*/ 477 w 905"/>
                <a:gd name="T61" fmla="*/ 845 h 1693"/>
                <a:gd name="T62" fmla="*/ 575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19" y="1556"/>
                    <a:pt x="113" y="1541"/>
                    <a:pt x="113" y="1522"/>
                  </a:cubicBezTo>
                  <a:cubicBezTo>
                    <a:pt x="128" y="1235"/>
                    <a:pt x="243" y="1111"/>
                    <a:pt x="329" y="1019"/>
                  </a:cubicBezTo>
                  <a:cubicBezTo>
                    <a:pt x="382" y="963"/>
                    <a:pt x="428" y="914"/>
                    <a:pt x="428" y="845"/>
                  </a:cubicBezTo>
                  <a:cubicBezTo>
                    <a:pt x="428" y="776"/>
                    <a:pt x="382" y="727"/>
                    <a:pt x="329" y="670"/>
                  </a:cubicBezTo>
                  <a:cubicBezTo>
                    <a:pt x="243" y="578"/>
                    <a:pt x="128" y="458"/>
                    <a:pt x="113" y="171"/>
                  </a:cubicBezTo>
                  <a:cubicBezTo>
                    <a:pt x="113" y="152"/>
                    <a:pt x="119"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5" y="670"/>
                  </a:cubicBezTo>
                  <a:cubicBezTo>
                    <a:pt x="522" y="727"/>
                    <a:pt x="477" y="776"/>
                    <a:pt x="477" y="845"/>
                  </a:cubicBezTo>
                  <a:cubicBezTo>
                    <a:pt x="477" y="914"/>
                    <a:pt x="522" y="963"/>
                    <a:pt x="575" y="1019"/>
                  </a:cubicBezTo>
                  <a:cubicBezTo>
                    <a:pt x="661" y="1111"/>
                    <a:pt x="777" y="1235"/>
                    <a:pt x="791" y="1522"/>
                  </a:cubicBezTo>
                  <a:cubicBezTo>
                    <a:pt x="792" y="1541"/>
                    <a:pt x="785" y="1556"/>
                    <a:pt x="777" y="1565"/>
                  </a:cubicBezTo>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6215689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92497"/>
          </a:xfrm>
        </p:spPr>
        <p:txBody>
          <a:bodyPr/>
          <a:lstStyle/>
          <a:p>
            <a:r>
              <a:rPr lang="en-US" sz="5000" dirty="0" smtClean="0"/>
              <a:t>Windows Azure HPC Scheduler – What is it?</a:t>
            </a:r>
            <a:endParaRPr lang="en-US" sz="5000" dirty="0"/>
          </a:p>
        </p:txBody>
      </p:sp>
      <p:sp>
        <p:nvSpPr>
          <p:cNvPr id="4" name="Content Placeholder 3"/>
          <p:cNvSpPr>
            <a:spLocks noGrp="1"/>
          </p:cNvSpPr>
          <p:nvPr>
            <p:ph type="body" sz="quarter" idx="10"/>
          </p:nvPr>
        </p:nvSpPr>
        <p:spPr>
          <a:xfrm>
            <a:off x="519112" y="1021405"/>
            <a:ext cx="7355925" cy="5339923"/>
          </a:xfrm>
        </p:spPr>
        <p:txBody>
          <a:bodyPr/>
          <a:lstStyle/>
          <a:p>
            <a:r>
              <a:rPr lang="en-US" sz="2800" dirty="0" smtClean="0">
                <a:solidFill>
                  <a:schemeClr val="accent3">
                    <a:alpha val="99000"/>
                  </a:schemeClr>
                </a:solidFill>
              </a:rPr>
              <a:t>A component in the HPC SP3 Release that can be used by ISV’s for building solutions in Windows Azure</a:t>
            </a:r>
          </a:p>
          <a:p>
            <a:pPr lvl="1">
              <a:spcAft>
                <a:spcPts val="600"/>
              </a:spcAft>
            </a:pPr>
            <a:r>
              <a:rPr lang="en-US" dirty="0" smtClean="0"/>
              <a:t>Application Bursting</a:t>
            </a:r>
          </a:p>
          <a:p>
            <a:pPr lvl="1">
              <a:spcAft>
                <a:spcPts val="600"/>
              </a:spcAft>
            </a:pPr>
            <a:r>
              <a:rPr lang="en-US" dirty="0" smtClean="0"/>
              <a:t>Manages Compute jobs within a Service</a:t>
            </a:r>
          </a:p>
          <a:p>
            <a:pPr lvl="1">
              <a:spcAft>
                <a:spcPts val="600"/>
              </a:spcAft>
            </a:pPr>
            <a:r>
              <a:rPr lang="en-US" dirty="0" smtClean="0"/>
              <a:t>Part of the Windows Azure SDK 1.6</a:t>
            </a:r>
          </a:p>
          <a:p>
            <a:pPr lvl="1">
              <a:spcAft>
                <a:spcPts val="600"/>
              </a:spcAft>
            </a:pPr>
            <a:endParaRPr lang="en-US" sz="1400" dirty="0" smtClean="0"/>
          </a:p>
          <a:p>
            <a:r>
              <a:rPr lang="en-US" sz="2800" dirty="0">
                <a:solidFill>
                  <a:schemeClr val="accent3">
                    <a:alpha val="99000"/>
                  </a:schemeClr>
                </a:solidFill>
              </a:rPr>
              <a:t>The same Job Scheduler that is used in the HPC 2008 R2 SP2 Pack</a:t>
            </a:r>
          </a:p>
          <a:p>
            <a:pPr lvl="1">
              <a:spcAft>
                <a:spcPts val="600"/>
              </a:spcAft>
            </a:pPr>
            <a:r>
              <a:rPr lang="en-US" dirty="0" smtClean="0"/>
              <a:t>Priority based First Come First Served batch scheduling with Backfill</a:t>
            </a:r>
          </a:p>
          <a:p>
            <a:pPr lvl="1">
              <a:spcAft>
                <a:spcPts val="600"/>
              </a:spcAft>
            </a:pPr>
            <a:r>
              <a:rPr lang="en-US" dirty="0" smtClean="0"/>
              <a:t>Graceful and Immediate Preemption</a:t>
            </a:r>
          </a:p>
          <a:p>
            <a:pPr lvl="1">
              <a:spcAft>
                <a:spcPts val="600"/>
              </a:spcAft>
            </a:pPr>
            <a:r>
              <a:rPr lang="en-US" dirty="0" smtClean="0"/>
              <a:t>HPC Grow/Shrink</a:t>
            </a:r>
          </a:p>
          <a:p>
            <a:pPr lvl="1">
              <a:spcAft>
                <a:spcPts val="600"/>
              </a:spcAft>
            </a:pPr>
            <a:r>
              <a:rPr lang="en-US" dirty="0" smtClean="0"/>
              <a:t>Service Balanced Scheduling</a:t>
            </a:r>
          </a:p>
          <a:p>
            <a:pPr lvl="1">
              <a:spcAft>
                <a:spcPts val="600"/>
              </a:spcAft>
            </a:pPr>
            <a:r>
              <a:rPr lang="en-US" dirty="0" smtClean="0"/>
              <a:t>CLUSRUN!</a:t>
            </a:r>
            <a:endParaRPr lang="en-US" dirty="0"/>
          </a:p>
        </p:txBody>
      </p:sp>
      <p:grpSp>
        <p:nvGrpSpPr>
          <p:cNvPr id="6" name="Group 5"/>
          <p:cNvGrpSpPr/>
          <p:nvPr/>
        </p:nvGrpSpPr>
        <p:grpSpPr>
          <a:xfrm>
            <a:off x="8390617" y="2956560"/>
            <a:ext cx="2992896" cy="3174554"/>
            <a:chOff x="5049838" y="2319338"/>
            <a:chExt cx="2092325" cy="2219325"/>
          </a:xfrm>
          <a:solidFill>
            <a:schemeClr val="tx1"/>
          </a:solidFill>
        </p:grpSpPr>
        <p:sp>
          <p:nvSpPr>
            <p:cNvPr id="7" name="Freeform 6"/>
            <p:cNvSpPr>
              <a:spLocks noEditPoints="1"/>
            </p:cNvSpPr>
            <p:nvPr/>
          </p:nvSpPr>
          <p:spPr bwMode="auto">
            <a:xfrm>
              <a:off x="5049838" y="3195638"/>
              <a:ext cx="1462088" cy="1343025"/>
            </a:xfrm>
            <a:custGeom>
              <a:avLst/>
              <a:gdLst>
                <a:gd name="T0" fmla="*/ 310 w 390"/>
                <a:gd name="T1" fmla="*/ 13 h 358"/>
                <a:gd name="T2" fmla="*/ 284 w 390"/>
                <a:gd name="T3" fmla="*/ 17 h 358"/>
                <a:gd name="T4" fmla="*/ 256 w 390"/>
                <a:gd name="T5" fmla="*/ 0 h 358"/>
                <a:gd name="T6" fmla="*/ 228 w 390"/>
                <a:gd name="T7" fmla="*/ 17 h 358"/>
                <a:gd name="T8" fmla="*/ 202 w 390"/>
                <a:gd name="T9" fmla="*/ 13 h 358"/>
                <a:gd name="T10" fmla="*/ 188 w 390"/>
                <a:gd name="T11" fmla="*/ 13 h 358"/>
                <a:gd name="T12" fmla="*/ 162 w 390"/>
                <a:gd name="T13" fmla="*/ 17 h 358"/>
                <a:gd name="T14" fmla="*/ 134 w 390"/>
                <a:gd name="T15" fmla="*/ 0 h 358"/>
                <a:gd name="T16" fmla="*/ 106 w 390"/>
                <a:gd name="T17" fmla="*/ 17 h 358"/>
                <a:gd name="T18" fmla="*/ 80 w 390"/>
                <a:gd name="T19" fmla="*/ 13 h 358"/>
                <a:gd name="T20" fmla="*/ 65 w 390"/>
                <a:gd name="T21" fmla="*/ 13 h 358"/>
                <a:gd name="T22" fmla="*/ 39 w 390"/>
                <a:gd name="T23" fmla="*/ 17 h 358"/>
                <a:gd name="T24" fmla="*/ 0 w 390"/>
                <a:gd name="T25" fmla="*/ 349 h 358"/>
                <a:gd name="T26" fmla="*/ 390 w 390"/>
                <a:gd name="T27" fmla="*/ 349 h 358"/>
                <a:gd name="T28" fmla="*/ 81 w 390"/>
                <a:gd name="T29" fmla="*/ 334 h 358"/>
                <a:gd name="T30" fmla="*/ 81 w 390"/>
                <a:gd name="T31" fmla="*/ 287 h 358"/>
                <a:gd name="T32" fmla="*/ 24 w 390"/>
                <a:gd name="T33" fmla="*/ 274 h 358"/>
                <a:gd name="T34" fmla="*/ 81 w 390"/>
                <a:gd name="T35" fmla="*/ 274 h 358"/>
                <a:gd name="T36" fmla="*/ 24 w 390"/>
                <a:gd name="T37" fmla="*/ 164 h 358"/>
                <a:gd name="T38" fmla="*/ 81 w 390"/>
                <a:gd name="T39" fmla="*/ 150 h 358"/>
                <a:gd name="T40" fmla="*/ 81 w 390"/>
                <a:gd name="T41" fmla="*/ 102 h 358"/>
                <a:gd name="T42" fmla="*/ 94 w 390"/>
                <a:gd name="T43" fmla="*/ 334 h 358"/>
                <a:gd name="T44" fmla="*/ 152 w 390"/>
                <a:gd name="T45" fmla="*/ 334 h 358"/>
                <a:gd name="T46" fmla="*/ 94 w 390"/>
                <a:gd name="T47" fmla="*/ 225 h 358"/>
                <a:gd name="T48" fmla="*/ 152 w 390"/>
                <a:gd name="T49" fmla="*/ 211 h 358"/>
                <a:gd name="T50" fmla="*/ 152 w 390"/>
                <a:gd name="T51" fmla="*/ 164 h 358"/>
                <a:gd name="T52" fmla="*/ 94 w 390"/>
                <a:gd name="T53" fmla="*/ 150 h 358"/>
                <a:gd name="T54" fmla="*/ 152 w 390"/>
                <a:gd name="T55" fmla="*/ 150 h 358"/>
                <a:gd name="T56" fmla="*/ 166 w 390"/>
                <a:gd name="T57" fmla="*/ 287 h 358"/>
                <a:gd name="T58" fmla="*/ 223 w 390"/>
                <a:gd name="T59" fmla="*/ 274 h 358"/>
                <a:gd name="T60" fmla="*/ 223 w 390"/>
                <a:gd name="T61" fmla="*/ 225 h 358"/>
                <a:gd name="T62" fmla="*/ 166 w 390"/>
                <a:gd name="T63" fmla="*/ 211 h 358"/>
                <a:gd name="T64" fmla="*/ 223 w 390"/>
                <a:gd name="T65" fmla="*/ 211 h 358"/>
                <a:gd name="T66" fmla="*/ 166 w 390"/>
                <a:gd name="T67" fmla="*/ 102 h 358"/>
                <a:gd name="T68" fmla="*/ 295 w 390"/>
                <a:gd name="T69" fmla="*/ 334 h 358"/>
                <a:gd name="T70" fmla="*/ 295 w 390"/>
                <a:gd name="T71" fmla="*/ 287 h 358"/>
                <a:gd name="T72" fmla="*/ 237 w 390"/>
                <a:gd name="T73" fmla="*/ 274 h 358"/>
                <a:gd name="T74" fmla="*/ 295 w 390"/>
                <a:gd name="T75" fmla="*/ 274 h 358"/>
                <a:gd name="T76" fmla="*/ 237 w 390"/>
                <a:gd name="T77" fmla="*/ 164 h 358"/>
                <a:gd name="T78" fmla="*/ 295 w 390"/>
                <a:gd name="T79" fmla="*/ 150 h 358"/>
                <a:gd name="T80" fmla="*/ 295 w 390"/>
                <a:gd name="T81" fmla="*/ 102 h 358"/>
                <a:gd name="T82" fmla="*/ 309 w 390"/>
                <a:gd name="T83" fmla="*/ 334 h 358"/>
                <a:gd name="T84" fmla="*/ 366 w 390"/>
                <a:gd name="T85" fmla="*/ 334 h 358"/>
                <a:gd name="T86" fmla="*/ 309 w 390"/>
                <a:gd name="T87" fmla="*/ 225 h 358"/>
                <a:gd name="T88" fmla="*/ 366 w 390"/>
                <a:gd name="T89" fmla="*/ 211 h 358"/>
                <a:gd name="T90" fmla="*/ 366 w 390"/>
                <a:gd name="T91" fmla="*/ 164 h 358"/>
                <a:gd name="T92" fmla="*/ 309 w 390"/>
                <a:gd name="T93" fmla="*/ 150 h 358"/>
                <a:gd name="T94" fmla="*/ 366 w 390"/>
                <a:gd name="T95" fmla="*/ 150 h 358"/>
                <a:gd name="T96" fmla="*/ 24 w 390"/>
                <a:gd name="T97" fmla="*/ 88 h 358"/>
                <a:gd name="T98" fmla="*/ 39 w 390"/>
                <a:gd name="T99" fmla="*/ 43 h 358"/>
                <a:gd name="T100" fmla="*/ 65 w 390"/>
                <a:gd name="T101" fmla="*/ 41 h 358"/>
                <a:gd name="T102" fmla="*/ 93 w 390"/>
                <a:gd name="T103" fmla="*/ 56 h 358"/>
                <a:gd name="T104" fmla="*/ 121 w 390"/>
                <a:gd name="T105" fmla="*/ 41 h 358"/>
                <a:gd name="T106" fmla="*/ 147 w 390"/>
                <a:gd name="T107" fmla="*/ 43 h 358"/>
                <a:gd name="T108" fmla="*/ 162 w 390"/>
                <a:gd name="T109" fmla="*/ 43 h 358"/>
                <a:gd name="T110" fmla="*/ 188 w 390"/>
                <a:gd name="T111" fmla="*/ 41 h 358"/>
                <a:gd name="T112" fmla="*/ 215 w 390"/>
                <a:gd name="T113" fmla="*/ 56 h 358"/>
                <a:gd name="T114" fmla="*/ 243 w 390"/>
                <a:gd name="T115" fmla="*/ 41 h 358"/>
                <a:gd name="T116" fmla="*/ 269 w 390"/>
                <a:gd name="T117" fmla="*/ 43 h 358"/>
                <a:gd name="T118" fmla="*/ 284 w 390"/>
                <a:gd name="T119" fmla="*/ 43 h 358"/>
                <a:gd name="T120" fmla="*/ 310 w 390"/>
                <a:gd name="T121" fmla="*/ 4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358">
                  <a:moveTo>
                    <a:pt x="381" y="17"/>
                  </a:moveTo>
                  <a:cubicBezTo>
                    <a:pt x="356" y="17"/>
                    <a:pt x="332" y="17"/>
                    <a:pt x="310" y="17"/>
                  </a:cubicBezTo>
                  <a:cubicBezTo>
                    <a:pt x="310" y="13"/>
                    <a:pt x="310" y="13"/>
                    <a:pt x="310" y="13"/>
                  </a:cubicBezTo>
                  <a:cubicBezTo>
                    <a:pt x="310" y="6"/>
                    <a:pt x="305" y="0"/>
                    <a:pt x="297" y="0"/>
                  </a:cubicBezTo>
                  <a:cubicBezTo>
                    <a:pt x="290" y="0"/>
                    <a:pt x="284" y="6"/>
                    <a:pt x="284" y="13"/>
                  </a:cubicBezTo>
                  <a:cubicBezTo>
                    <a:pt x="284" y="17"/>
                    <a:pt x="284" y="17"/>
                    <a:pt x="284" y="17"/>
                  </a:cubicBezTo>
                  <a:cubicBezTo>
                    <a:pt x="279" y="17"/>
                    <a:pt x="274" y="17"/>
                    <a:pt x="269" y="17"/>
                  </a:cubicBezTo>
                  <a:cubicBezTo>
                    <a:pt x="269" y="13"/>
                    <a:pt x="269" y="13"/>
                    <a:pt x="269" y="13"/>
                  </a:cubicBezTo>
                  <a:cubicBezTo>
                    <a:pt x="269" y="6"/>
                    <a:pt x="264" y="0"/>
                    <a:pt x="256" y="0"/>
                  </a:cubicBezTo>
                  <a:cubicBezTo>
                    <a:pt x="249" y="0"/>
                    <a:pt x="243" y="6"/>
                    <a:pt x="243" y="13"/>
                  </a:cubicBezTo>
                  <a:cubicBezTo>
                    <a:pt x="243" y="17"/>
                    <a:pt x="243" y="17"/>
                    <a:pt x="243" y="17"/>
                  </a:cubicBezTo>
                  <a:cubicBezTo>
                    <a:pt x="238" y="17"/>
                    <a:pt x="233" y="17"/>
                    <a:pt x="228" y="17"/>
                  </a:cubicBezTo>
                  <a:cubicBezTo>
                    <a:pt x="228" y="13"/>
                    <a:pt x="228" y="13"/>
                    <a:pt x="228" y="13"/>
                  </a:cubicBezTo>
                  <a:cubicBezTo>
                    <a:pt x="228" y="6"/>
                    <a:pt x="223" y="0"/>
                    <a:pt x="215" y="0"/>
                  </a:cubicBezTo>
                  <a:cubicBezTo>
                    <a:pt x="208" y="0"/>
                    <a:pt x="202" y="6"/>
                    <a:pt x="202" y="13"/>
                  </a:cubicBezTo>
                  <a:cubicBezTo>
                    <a:pt x="202" y="17"/>
                    <a:pt x="202" y="17"/>
                    <a:pt x="202" y="17"/>
                  </a:cubicBezTo>
                  <a:cubicBezTo>
                    <a:pt x="197" y="17"/>
                    <a:pt x="192" y="17"/>
                    <a:pt x="188" y="17"/>
                  </a:cubicBezTo>
                  <a:cubicBezTo>
                    <a:pt x="188" y="13"/>
                    <a:pt x="188" y="13"/>
                    <a:pt x="188" y="13"/>
                  </a:cubicBezTo>
                  <a:cubicBezTo>
                    <a:pt x="188" y="6"/>
                    <a:pt x="182" y="0"/>
                    <a:pt x="175" y="0"/>
                  </a:cubicBezTo>
                  <a:cubicBezTo>
                    <a:pt x="167" y="0"/>
                    <a:pt x="162" y="6"/>
                    <a:pt x="162" y="13"/>
                  </a:cubicBezTo>
                  <a:cubicBezTo>
                    <a:pt x="162" y="17"/>
                    <a:pt x="162" y="17"/>
                    <a:pt x="162" y="17"/>
                  </a:cubicBezTo>
                  <a:cubicBezTo>
                    <a:pt x="156" y="17"/>
                    <a:pt x="151" y="17"/>
                    <a:pt x="147" y="17"/>
                  </a:cubicBezTo>
                  <a:cubicBezTo>
                    <a:pt x="147" y="13"/>
                    <a:pt x="147" y="13"/>
                    <a:pt x="147" y="13"/>
                  </a:cubicBezTo>
                  <a:cubicBezTo>
                    <a:pt x="147" y="6"/>
                    <a:pt x="141" y="0"/>
                    <a:pt x="134" y="0"/>
                  </a:cubicBezTo>
                  <a:cubicBezTo>
                    <a:pt x="126" y="0"/>
                    <a:pt x="121" y="6"/>
                    <a:pt x="121" y="13"/>
                  </a:cubicBezTo>
                  <a:cubicBezTo>
                    <a:pt x="121" y="17"/>
                    <a:pt x="121" y="17"/>
                    <a:pt x="121" y="17"/>
                  </a:cubicBezTo>
                  <a:cubicBezTo>
                    <a:pt x="115" y="17"/>
                    <a:pt x="110" y="17"/>
                    <a:pt x="106" y="17"/>
                  </a:cubicBezTo>
                  <a:cubicBezTo>
                    <a:pt x="106" y="13"/>
                    <a:pt x="106" y="13"/>
                    <a:pt x="106" y="13"/>
                  </a:cubicBezTo>
                  <a:cubicBezTo>
                    <a:pt x="106" y="6"/>
                    <a:pt x="100" y="0"/>
                    <a:pt x="93" y="0"/>
                  </a:cubicBezTo>
                  <a:cubicBezTo>
                    <a:pt x="85" y="0"/>
                    <a:pt x="80" y="6"/>
                    <a:pt x="80" y="13"/>
                  </a:cubicBezTo>
                  <a:cubicBezTo>
                    <a:pt x="80" y="17"/>
                    <a:pt x="80" y="17"/>
                    <a:pt x="80" y="17"/>
                  </a:cubicBezTo>
                  <a:cubicBezTo>
                    <a:pt x="74" y="17"/>
                    <a:pt x="69" y="17"/>
                    <a:pt x="65" y="17"/>
                  </a:cubicBezTo>
                  <a:cubicBezTo>
                    <a:pt x="65" y="13"/>
                    <a:pt x="65" y="13"/>
                    <a:pt x="65" y="13"/>
                  </a:cubicBezTo>
                  <a:cubicBezTo>
                    <a:pt x="65" y="6"/>
                    <a:pt x="59" y="0"/>
                    <a:pt x="52" y="0"/>
                  </a:cubicBezTo>
                  <a:cubicBezTo>
                    <a:pt x="44" y="0"/>
                    <a:pt x="39" y="6"/>
                    <a:pt x="39" y="13"/>
                  </a:cubicBezTo>
                  <a:cubicBezTo>
                    <a:pt x="39" y="17"/>
                    <a:pt x="39" y="17"/>
                    <a:pt x="39" y="17"/>
                  </a:cubicBezTo>
                  <a:cubicBezTo>
                    <a:pt x="8" y="17"/>
                    <a:pt x="8" y="17"/>
                    <a:pt x="8" y="17"/>
                  </a:cubicBezTo>
                  <a:cubicBezTo>
                    <a:pt x="3" y="17"/>
                    <a:pt x="0" y="20"/>
                    <a:pt x="0" y="25"/>
                  </a:cubicBezTo>
                  <a:cubicBezTo>
                    <a:pt x="0" y="349"/>
                    <a:pt x="0" y="349"/>
                    <a:pt x="0" y="349"/>
                  </a:cubicBezTo>
                  <a:cubicBezTo>
                    <a:pt x="0" y="354"/>
                    <a:pt x="3" y="358"/>
                    <a:pt x="8" y="358"/>
                  </a:cubicBezTo>
                  <a:cubicBezTo>
                    <a:pt x="381" y="358"/>
                    <a:pt x="381" y="358"/>
                    <a:pt x="381" y="358"/>
                  </a:cubicBezTo>
                  <a:cubicBezTo>
                    <a:pt x="386" y="358"/>
                    <a:pt x="390" y="354"/>
                    <a:pt x="390" y="349"/>
                  </a:cubicBezTo>
                  <a:cubicBezTo>
                    <a:pt x="390" y="25"/>
                    <a:pt x="390" y="25"/>
                    <a:pt x="390" y="25"/>
                  </a:cubicBezTo>
                  <a:cubicBezTo>
                    <a:pt x="390" y="20"/>
                    <a:pt x="386" y="17"/>
                    <a:pt x="381" y="17"/>
                  </a:cubicBezTo>
                  <a:close/>
                  <a:moveTo>
                    <a:pt x="81" y="334"/>
                  </a:moveTo>
                  <a:cubicBezTo>
                    <a:pt x="24" y="334"/>
                    <a:pt x="24" y="334"/>
                    <a:pt x="24" y="334"/>
                  </a:cubicBezTo>
                  <a:cubicBezTo>
                    <a:pt x="24" y="287"/>
                    <a:pt x="24" y="287"/>
                    <a:pt x="24" y="287"/>
                  </a:cubicBezTo>
                  <a:cubicBezTo>
                    <a:pt x="81" y="287"/>
                    <a:pt x="81" y="287"/>
                    <a:pt x="81" y="287"/>
                  </a:cubicBezTo>
                  <a:cubicBezTo>
                    <a:pt x="81" y="334"/>
                    <a:pt x="81" y="334"/>
                    <a:pt x="81" y="334"/>
                  </a:cubicBezTo>
                  <a:close/>
                  <a:moveTo>
                    <a:pt x="81" y="274"/>
                  </a:moveTo>
                  <a:cubicBezTo>
                    <a:pt x="24" y="274"/>
                    <a:pt x="24" y="274"/>
                    <a:pt x="24" y="274"/>
                  </a:cubicBezTo>
                  <a:cubicBezTo>
                    <a:pt x="24" y="225"/>
                    <a:pt x="24" y="225"/>
                    <a:pt x="24" y="225"/>
                  </a:cubicBezTo>
                  <a:cubicBezTo>
                    <a:pt x="81" y="225"/>
                    <a:pt x="81" y="225"/>
                    <a:pt x="81" y="225"/>
                  </a:cubicBezTo>
                  <a:cubicBezTo>
                    <a:pt x="81" y="274"/>
                    <a:pt x="81" y="274"/>
                    <a:pt x="81" y="274"/>
                  </a:cubicBezTo>
                  <a:close/>
                  <a:moveTo>
                    <a:pt x="81" y="211"/>
                  </a:moveTo>
                  <a:cubicBezTo>
                    <a:pt x="24" y="211"/>
                    <a:pt x="24" y="211"/>
                    <a:pt x="24" y="211"/>
                  </a:cubicBezTo>
                  <a:cubicBezTo>
                    <a:pt x="24" y="164"/>
                    <a:pt x="24" y="164"/>
                    <a:pt x="24" y="164"/>
                  </a:cubicBezTo>
                  <a:cubicBezTo>
                    <a:pt x="81" y="164"/>
                    <a:pt x="81" y="164"/>
                    <a:pt x="81" y="164"/>
                  </a:cubicBezTo>
                  <a:cubicBezTo>
                    <a:pt x="81" y="211"/>
                    <a:pt x="81" y="211"/>
                    <a:pt x="81" y="211"/>
                  </a:cubicBezTo>
                  <a:close/>
                  <a:moveTo>
                    <a:pt x="81" y="150"/>
                  </a:moveTo>
                  <a:cubicBezTo>
                    <a:pt x="24" y="150"/>
                    <a:pt x="24" y="150"/>
                    <a:pt x="24" y="150"/>
                  </a:cubicBezTo>
                  <a:cubicBezTo>
                    <a:pt x="24" y="102"/>
                    <a:pt x="24" y="102"/>
                    <a:pt x="24" y="102"/>
                  </a:cubicBezTo>
                  <a:cubicBezTo>
                    <a:pt x="81" y="102"/>
                    <a:pt x="81" y="102"/>
                    <a:pt x="81" y="102"/>
                  </a:cubicBezTo>
                  <a:cubicBezTo>
                    <a:pt x="81" y="150"/>
                    <a:pt x="81" y="150"/>
                    <a:pt x="81" y="150"/>
                  </a:cubicBezTo>
                  <a:close/>
                  <a:moveTo>
                    <a:pt x="152" y="334"/>
                  </a:moveTo>
                  <a:cubicBezTo>
                    <a:pt x="94" y="334"/>
                    <a:pt x="94" y="334"/>
                    <a:pt x="94" y="334"/>
                  </a:cubicBezTo>
                  <a:cubicBezTo>
                    <a:pt x="94" y="287"/>
                    <a:pt x="94" y="287"/>
                    <a:pt x="94" y="287"/>
                  </a:cubicBezTo>
                  <a:cubicBezTo>
                    <a:pt x="152" y="287"/>
                    <a:pt x="152" y="287"/>
                    <a:pt x="152" y="287"/>
                  </a:cubicBezTo>
                  <a:cubicBezTo>
                    <a:pt x="152" y="334"/>
                    <a:pt x="152" y="334"/>
                    <a:pt x="152" y="334"/>
                  </a:cubicBezTo>
                  <a:close/>
                  <a:moveTo>
                    <a:pt x="152" y="274"/>
                  </a:moveTo>
                  <a:cubicBezTo>
                    <a:pt x="94" y="274"/>
                    <a:pt x="94" y="274"/>
                    <a:pt x="94" y="274"/>
                  </a:cubicBezTo>
                  <a:cubicBezTo>
                    <a:pt x="94" y="225"/>
                    <a:pt x="94" y="225"/>
                    <a:pt x="94" y="225"/>
                  </a:cubicBezTo>
                  <a:cubicBezTo>
                    <a:pt x="152" y="225"/>
                    <a:pt x="152" y="225"/>
                    <a:pt x="152" y="225"/>
                  </a:cubicBezTo>
                  <a:cubicBezTo>
                    <a:pt x="152" y="274"/>
                    <a:pt x="152" y="274"/>
                    <a:pt x="152" y="274"/>
                  </a:cubicBezTo>
                  <a:close/>
                  <a:moveTo>
                    <a:pt x="152" y="211"/>
                  </a:moveTo>
                  <a:cubicBezTo>
                    <a:pt x="94" y="211"/>
                    <a:pt x="94" y="211"/>
                    <a:pt x="94" y="211"/>
                  </a:cubicBezTo>
                  <a:cubicBezTo>
                    <a:pt x="94" y="164"/>
                    <a:pt x="94" y="164"/>
                    <a:pt x="94" y="164"/>
                  </a:cubicBezTo>
                  <a:cubicBezTo>
                    <a:pt x="152" y="164"/>
                    <a:pt x="152" y="164"/>
                    <a:pt x="152" y="164"/>
                  </a:cubicBezTo>
                  <a:cubicBezTo>
                    <a:pt x="152" y="211"/>
                    <a:pt x="152" y="211"/>
                    <a:pt x="152" y="211"/>
                  </a:cubicBezTo>
                  <a:close/>
                  <a:moveTo>
                    <a:pt x="152" y="150"/>
                  </a:moveTo>
                  <a:cubicBezTo>
                    <a:pt x="94" y="150"/>
                    <a:pt x="94" y="150"/>
                    <a:pt x="94" y="150"/>
                  </a:cubicBezTo>
                  <a:cubicBezTo>
                    <a:pt x="94" y="102"/>
                    <a:pt x="94" y="102"/>
                    <a:pt x="94" y="102"/>
                  </a:cubicBezTo>
                  <a:cubicBezTo>
                    <a:pt x="152" y="102"/>
                    <a:pt x="152" y="102"/>
                    <a:pt x="152" y="102"/>
                  </a:cubicBezTo>
                  <a:cubicBezTo>
                    <a:pt x="152" y="150"/>
                    <a:pt x="152" y="150"/>
                    <a:pt x="152" y="150"/>
                  </a:cubicBezTo>
                  <a:close/>
                  <a:moveTo>
                    <a:pt x="223" y="334"/>
                  </a:moveTo>
                  <a:cubicBezTo>
                    <a:pt x="166" y="334"/>
                    <a:pt x="166" y="334"/>
                    <a:pt x="166" y="334"/>
                  </a:cubicBezTo>
                  <a:cubicBezTo>
                    <a:pt x="166" y="287"/>
                    <a:pt x="166" y="287"/>
                    <a:pt x="166" y="287"/>
                  </a:cubicBezTo>
                  <a:cubicBezTo>
                    <a:pt x="223" y="287"/>
                    <a:pt x="223" y="287"/>
                    <a:pt x="223" y="287"/>
                  </a:cubicBezTo>
                  <a:cubicBezTo>
                    <a:pt x="223" y="334"/>
                    <a:pt x="223" y="334"/>
                    <a:pt x="223" y="334"/>
                  </a:cubicBezTo>
                  <a:close/>
                  <a:moveTo>
                    <a:pt x="223" y="274"/>
                  </a:moveTo>
                  <a:cubicBezTo>
                    <a:pt x="166" y="274"/>
                    <a:pt x="166" y="274"/>
                    <a:pt x="166" y="274"/>
                  </a:cubicBezTo>
                  <a:cubicBezTo>
                    <a:pt x="166" y="225"/>
                    <a:pt x="166" y="225"/>
                    <a:pt x="166" y="225"/>
                  </a:cubicBezTo>
                  <a:cubicBezTo>
                    <a:pt x="223" y="225"/>
                    <a:pt x="223" y="225"/>
                    <a:pt x="223" y="225"/>
                  </a:cubicBezTo>
                  <a:cubicBezTo>
                    <a:pt x="223" y="274"/>
                    <a:pt x="223" y="274"/>
                    <a:pt x="223" y="274"/>
                  </a:cubicBezTo>
                  <a:close/>
                  <a:moveTo>
                    <a:pt x="223" y="211"/>
                  </a:moveTo>
                  <a:cubicBezTo>
                    <a:pt x="166" y="211"/>
                    <a:pt x="166" y="211"/>
                    <a:pt x="166" y="211"/>
                  </a:cubicBezTo>
                  <a:cubicBezTo>
                    <a:pt x="166" y="164"/>
                    <a:pt x="166" y="164"/>
                    <a:pt x="166" y="164"/>
                  </a:cubicBezTo>
                  <a:cubicBezTo>
                    <a:pt x="223" y="164"/>
                    <a:pt x="223" y="164"/>
                    <a:pt x="223" y="164"/>
                  </a:cubicBezTo>
                  <a:cubicBezTo>
                    <a:pt x="223" y="211"/>
                    <a:pt x="223" y="211"/>
                    <a:pt x="223" y="211"/>
                  </a:cubicBezTo>
                  <a:close/>
                  <a:moveTo>
                    <a:pt x="223" y="150"/>
                  </a:moveTo>
                  <a:cubicBezTo>
                    <a:pt x="166" y="150"/>
                    <a:pt x="166" y="150"/>
                    <a:pt x="166" y="150"/>
                  </a:cubicBezTo>
                  <a:cubicBezTo>
                    <a:pt x="166" y="102"/>
                    <a:pt x="166" y="102"/>
                    <a:pt x="166" y="102"/>
                  </a:cubicBezTo>
                  <a:cubicBezTo>
                    <a:pt x="223" y="102"/>
                    <a:pt x="223" y="102"/>
                    <a:pt x="223" y="102"/>
                  </a:cubicBezTo>
                  <a:cubicBezTo>
                    <a:pt x="223" y="150"/>
                    <a:pt x="223" y="150"/>
                    <a:pt x="223" y="150"/>
                  </a:cubicBezTo>
                  <a:close/>
                  <a:moveTo>
                    <a:pt x="295" y="334"/>
                  </a:moveTo>
                  <a:cubicBezTo>
                    <a:pt x="237" y="334"/>
                    <a:pt x="237" y="334"/>
                    <a:pt x="237" y="334"/>
                  </a:cubicBezTo>
                  <a:cubicBezTo>
                    <a:pt x="237" y="287"/>
                    <a:pt x="237" y="287"/>
                    <a:pt x="237" y="287"/>
                  </a:cubicBezTo>
                  <a:cubicBezTo>
                    <a:pt x="295" y="287"/>
                    <a:pt x="295" y="287"/>
                    <a:pt x="295" y="287"/>
                  </a:cubicBezTo>
                  <a:cubicBezTo>
                    <a:pt x="295" y="334"/>
                    <a:pt x="295" y="334"/>
                    <a:pt x="295" y="334"/>
                  </a:cubicBezTo>
                  <a:close/>
                  <a:moveTo>
                    <a:pt x="295" y="274"/>
                  </a:moveTo>
                  <a:cubicBezTo>
                    <a:pt x="237" y="274"/>
                    <a:pt x="237" y="274"/>
                    <a:pt x="237" y="274"/>
                  </a:cubicBezTo>
                  <a:cubicBezTo>
                    <a:pt x="237" y="225"/>
                    <a:pt x="237" y="225"/>
                    <a:pt x="237" y="225"/>
                  </a:cubicBezTo>
                  <a:cubicBezTo>
                    <a:pt x="295" y="225"/>
                    <a:pt x="295" y="225"/>
                    <a:pt x="295" y="225"/>
                  </a:cubicBezTo>
                  <a:cubicBezTo>
                    <a:pt x="295" y="274"/>
                    <a:pt x="295" y="274"/>
                    <a:pt x="295" y="274"/>
                  </a:cubicBezTo>
                  <a:close/>
                  <a:moveTo>
                    <a:pt x="295" y="211"/>
                  </a:moveTo>
                  <a:cubicBezTo>
                    <a:pt x="237" y="211"/>
                    <a:pt x="237" y="211"/>
                    <a:pt x="237" y="211"/>
                  </a:cubicBezTo>
                  <a:cubicBezTo>
                    <a:pt x="237" y="164"/>
                    <a:pt x="237" y="164"/>
                    <a:pt x="237" y="164"/>
                  </a:cubicBezTo>
                  <a:cubicBezTo>
                    <a:pt x="295" y="164"/>
                    <a:pt x="295" y="164"/>
                    <a:pt x="295" y="164"/>
                  </a:cubicBezTo>
                  <a:cubicBezTo>
                    <a:pt x="295" y="211"/>
                    <a:pt x="295" y="211"/>
                    <a:pt x="295" y="211"/>
                  </a:cubicBezTo>
                  <a:close/>
                  <a:moveTo>
                    <a:pt x="295" y="150"/>
                  </a:moveTo>
                  <a:cubicBezTo>
                    <a:pt x="237" y="150"/>
                    <a:pt x="237" y="150"/>
                    <a:pt x="237" y="150"/>
                  </a:cubicBezTo>
                  <a:cubicBezTo>
                    <a:pt x="237" y="102"/>
                    <a:pt x="237" y="102"/>
                    <a:pt x="237" y="102"/>
                  </a:cubicBezTo>
                  <a:cubicBezTo>
                    <a:pt x="295" y="102"/>
                    <a:pt x="295" y="102"/>
                    <a:pt x="295" y="102"/>
                  </a:cubicBezTo>
                  <a:cubicBezTo>
                    <a:pt x="295" y="150"/>
                    <a:pt x="295" y="150"/>
                    <a:pt x="295" y="150"/>
                  </a:cubicBezTo>
                  <a:close/>
                  <a:moveTo>
                    <a:pt x="366" y="334"/>
                  </a:moveTo>
                  <a:cubicBezTo>
                    <a:pt x="309" y="334"/>
                    <a:pt x="309" y="334"/>
                    <a:pt x="309" y="334"/>
                  </a:cubicBezTo>
                  <a:cubicBezTo>
                    <a:pt x="309" y="287"/>
                    <a:pt x="309" y="287"/>
                    <a:pt x="309" y="287"/>
                  </a:cubicBezTo>
                  <a:cubicBezTo>
                    <a:pt x="366" y="287"/>
                    <a:pt x="366" y="287"/>
                    <a:pt x="366" y="287"/>
                  </a:cubicBezTo>
                  <a:cubicBezTo>
                    <a:pt x="366" y="334"/>
                    <a:pt x="366" y="334"/>
                    <a:pt x="366" y="334"/>
                  </a:cubicBezTo>
                  <a:close/>
                  <a:moveTo>
                    <a:pt x="366" y="274"/>
                  </a:moveTo>
                  <a:cubicBezTo>
                    <a:pt x="309" y="274"/>
                    <a:pt x="309" y="274"/>
                    <a:pt x="309" y="274"/>
                  </a:cubicBezTo>
                  <a:cubicBezTo>
                    <a:pt x="309" y="225"/>
                    <a:pt x="309" y="225"/>
                    <a:pt x="309" y="225"/>
                  </a:cubicBezTo>
                  <a:cubicBezTo>
                    <a:pt x="366" y="225"/>
                    <a:pt x="366" y="225"/>
                    <a:pt x="366" y="225"/>
                  </a:cubicBezTo>
                  <a:cubicBezTo>
                    <a:pt x="366" y="274"/>
                    <a:pt x="366" y="274"/>
                    <a:pt x="366" y="274"/>
                  </a:cubicBezTo>
                  <a:close/>
                  <a:moveTo>
                    <a:pt x="366" y="211"/>
                  </a:moveTo>
                  <a:cubicBezTo>
                    <a:pt x="309" y="211"/>
                    <a:pt x="309" y="211"/>
                    <a:pt x="309" y="211"/>
                  </a:cubicBezTo>
                  <a:cubicBezTo>
                    <a:pt x="309" y="164"/>
                    <a:pt x="309" y="164"/>
                    <a:pt x="309" y="164"/>
                  </a:cubicBezTo>
                  <a:cubicBezTo>
                    <a:pt x="366" y="164"/>
                    <a:pt x="366" y="164"/>
                    <a:pt x="366" y="164"/>
                  </a:cubicBezTo>
                  <a:cubicBezTo>
                    <a:pt x="366" y="211"/>
                    <a:pt x="366" y="211"/>
                    <a:pt x="366" y="211"/>
                  </a:cubicBezTo>
                  <a:close/>
                  <a:moveTo>
                    <a:pt x="366" y="150"/>
                  </a:moveTo>
                  <a:cubicBezTo>
                    <a:pt x="309" y="150"/>
                    <a:pt x="309" y="150"/>
                    <a:pt x="309" y="150"/>
                  </a:cubicBezTo>
                  <a:cubicBezTo>
                    <a:pt x="309" y="102"/>
                    <a:pt x="309" y="102"/>
                    <a:pt x="309" y="102"/>
                  </a:cubicBezTo>
                  <a:cubicBezTo>
                    <a:pt x="366" y="102"/>
                    <a:pt x="366" y="102"/>
                    <a:pt x="366" y="102"/>
                  </a:cubicBezTo>
                  <a:cubicBezTo>
                    <a:pt x="366" y="150"/>
                    <a:pt x="366" y="150"/>
                    <a:pt x="366" y="150"/>
                  </a:cubicBezTo>
                  <a:close/>
                  <a:moveTo>
                    <a:pt x="366" y="88"/>
                  </a:moveTo>
                  <a:cubicBezTo>
                    <a:pt x="81" y="88"/>
                    <a:pt x="81" y="88"/>
                    <a:pt x="81" y="88"/>
                  </a:cubicBezTo>
                  <a:cubicBezTo>
                    <a:pt x="24" y="88"/>
                    <a:pt x="24" y="88"/>
                    <a:pt x="24" y="88"/>
                  </a:cubicBezTo>
                  <a:cubicBezTo>
                    <a:pt x="24" y="41"/>
                    <a:pt x="24" y="41"/>
                    <a:pt x="24" y="41"/>
                  </a:cubicBezTo>
                  <a:cubicBezTo>
                    <a:pt x="39" y="41"/>
                    <a:pt x="39" y="41"/>
                    <a:pt x="39" y="41"/>
                  </a:cubicBezTo>
                  <a:cubicBezTo>
                    <a:pt x="39" y="43"/>
                    <a:pt x="39" y="43"/>
                    <a:pt x="39" y="43"/>
                  </a:cubicBezTo>
                  <a:cubicBezTo>
                    <a:pt x="39" y="50"/>
                    <a:pt x="44" y="56"/>
                    <a:pt x="52" y="56"/>
                  </a:cubicBezTo>
                  <a:cubicBezTo>
                    <a:pt x="59" y="56"/>
                    <a:pt x="65" y="50"/>
                    <a:pt x="65" y="43"/>
                  </a:cubicBezTo>
                  <a:cubicBezTo>
                    <a:pt x="65" y="41"/>
                    <a:pt x="65" y="41"/>
                    <a:pt x="65" y="41"/>
                  </a:cubicBezTo>
                  <a:cubicBezTo>
                    <a:pt x="80" y="41"/>
                    <a:pt x="80" y="41"/>
                    <a:pt x="80" y="41"/>
                  </a:cubicBezTo>
                  <a:cubicBezTo>
                    <a:pt x="80" y="43"/>
                    <a:pt x="80" y="43"/>
                    <a:pt x="80" y="43"/>
                  </a:cubicBezTo>
                  <a:cubicBezTo>
                    <a:pt x="80" y="50"/>
                    <a:pt x="85" y="56"/>
                    <a:pt x="93" y="56"/>
                  </a:cubicBezTo>
                  <a:cubicBezTo>
                    <a:pt x="100" y="56"/>
                    <a:pt x="106" y="50"/>
                    <a:pt x="106" y="43"/>
                  </a:cubicBezTo>
                  <a:cubicBezTo>
                    <a:pt x="106" y="41"/>
                    <a:pt x="106" y="41"/>
                    <a:pt x="106" y="41"/>
                  </a:cubicBezTo>
                  <a:cubicBezTo>
                    <a:pt x="121" y="41"/>
                    <a:pt x="121" y="41"/>
                    <a:pt x="121" y="41"/>
                  </a:cubicBezTo>
                  <a:cubicBezTo>
                    <a:pt x="121" y="43"/>
                    <a:pt x="121" y="43"/>
                    <a:pt x="121" y="43"/>
                  </a:cubicBezTo>
                  <a:cubicBezTo>
                    <a:pt x="121" y="50"/>
                    <a:pt x="126" y="56"/>
                    <a:pt x="134" y="56"/>
                  </a:cubicBezTo>
                  <a:cubicBezTo>
                    <a:pt x="141" y="56"/>
                    <a:pt x="147" y="50"/>
                    <a:pt x="147" y="43"/>
                  </a:cubicBezTo>
                  <a:cubicBezTo>
                    <a:pt x="147" y="41"/>
                    <a:pt x="147" y="41"/>
                    <a:pt x="147" y="41"/>
                  </a:cubicBezTo>
                  <a:cubicBezTo>
                    <a:pt x="162" y="41"/>
                    <a:pt x="162" y="41"/>
                    <a:pt x="162" y="41"/>
                  </a:cubicBezTo>
                  <a:cubicBezTo>
                    <a:pt x="162" y="43"/>
                    <a:pt x="162" y="43"/>
                    <a:pt x="162" y="43"/>
                  </a:cubicBezTo>
                  <a:cubicBezTo>
                    <a:pt x="162" y="50"/>
                    <a:pt x="167" y="56"/>
                    <a:pt x="175" y="56"/>
                  </a:cubicBezTo>
                  <a:cubicBezTo>
                    <a:pt x="182" y="56"/>
                    <a:pt x="188" y="50"/>
                    <a:pt x="188" y="43"/>
                  </a:cubicBezTo>
                  <a:cubicBezTo>
                    <a:pt x="188" y="41"/>
                    <a:pt x="188" y="41"/>
                    <a:pt x="188" y="41"/>
                  </a:cubicBezTo>
                  <a:cubicBezTo>
                    <a:pt x="202" y="41"/>
                    <a:pt x="202" y="41"/>
                    <a:pt x="202" y="41"/>
                  </a:cubicBezTo>
                  <a:cubicBezTo>
                    <a:pt x="202" y="43"/>
                    <a:pt x="202" y="43"/>
                    <a:pt x="202" y="43"/>
                  </a:cubicBezTo>
                  <a:cubicBezTo>
                    <a:pt x="202" y="50"/>
                    <a:pt x="208" y="56"/>
                    <a:pt x="215" y="56"/>
                  </a:cubicBezTo>
                  <a:cubicBezTo>
                    <a:pt x="223" y="56"/>
                    <a:pt x="228" y="50"/>
                    <a:pt x="228" y="43"/>
                  </a:cubicBezTo>
                  <a:cubicBezTo>
                    <a:pt x="228" y="41"/>
                    <a:pt x="228" y="41"/>
                    <a:pt x="228" y="41"/>
                  </a:cubicBezTo>
                  <a:cubicBezTo>
                    <a:pt x="243" y="41"/>
                    <a:pt x="243" y="41"/>
                    <a:pt x="243" y="41"/>
                  </a:cubicBezTo>
                  <a:cubicBezTo>
                    <a:pt x="243" y="43"/>
                    <a:pt x="243" y="43"/>
                    <a:pt x="243" y="43"/>
                  </a:cubicBezTo>
                  <a:cubicBezTo>
                    <a:pt x="243" y="50"/>
                    <a:pt x="249" y="56"/>
                    <a:pt x="256" y="56"/>
                  </a:cubicBezTo>
                  <a:cubicBezTo>
                    <a:pt x="264" y="56"/>
                    <a:pt x="269" y="50"/>
                    <a:pt x="269" y="43"/>
                  </a:cubicBezTo>
                  <a:cubicBezTo>
                    <a:pt x="269" y="41"/>
                    <a:pt x="269" y="41"/>
                    <a:pt x="269" y="41"/>
                  </a:cubicBezTo>
                  <a:cubicBezTo>
                    <a:pt x="284" y="41"/>
                    <a:pt x="284" y="41"/>
                    <a:pt x="284" y="41"/>
                  </a:cubicBezTo>
                  <a:cubicBezTo>
                    <a:pt x="284" y="43"/>
                    <a:pt x="284" y="43"/>
                    <a:pt x="284" y="43"/>
                  </a:cubicBezTo>
                  <a:cubicBezTo>
                    <a:pt x="284" y="50"/>
                    <a:pt x="290" y="56"/>
                    <a:pt x="297" y="56"/>
                  </a:cubicBezTo>
                  <a:cubicBezTo>
                    <a:pt x="305" y="56"/>
                    <a:pt x="310" y="50"/>
                    <a:pt x="310" y="43"/>
                  </a:cubicBezTo>
                  <a:cubicBezTo>
                    <a:pt x="310" y="41"/>
                    <a:pt x="310" y="41"/>
                    <a:pt x="310" y="41"/>
                  </a:cubicBezTo>
                  <a:cubicBezTo>
                    <a:pt x="366" y="41"/>
                    <a:pt x="366" y="41"/>
                    <a:pt x="366" y="41"/>
                  </a:cubicBezTo>
                  <a:lnTo>
                    <a:pt x="366" y="88"/>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8" name="Freeform 7"/>
            <p:cNvSpPr>
              <a:spLocks/>
            </p:cNvSpPr>
            <p:nvPr/>
          </p:nvSpPr>
          <p:spPr bwMode="auto">
            <a:xfrm>
              <a:off x="5913438" y="2319338"/>
              <a:ext cx="587375" cy="587375"/>
            </a:xfrm>
            <a:custGeom>
              <a:avLst/>
              <a:gdLst>
                <a:gd name="T0" fmla="*/ 136 w 157"/>
                <a:gd name="T1" fmla="*/ 80 h 157"/>
                <a:gd name="T2" fmla="*/ 157 w 157"/>
                <a:gd name="T3" fmla="*/ 71 h 157"/>
                <a:gd name="T4" fmla="*/ 149 w 157"/>
                <a:gd name="T5" fmla="*/ 45 h 157"/>
                <a:gd name="T6" fmla="*/ 127 w 157"/>
                <a:gd name="T7" fmla="*/ 48 h 157"/>
                <a:gd name="T8" fmla="*/ 120 w 157"/>
                <a:gd name="T9" fmla="*/ 38 h 157"/>
                <a:gd name="T10" fmla="*/ 128 w 157"/>
                <a:gd name="T11" fmla="*/ 18 h 157"/>
                <a:gd name="T12" fmla="*/ 105 w 157"/>
                <a:gd name="T13" fmla="*/ 4 h 157"/>
                <a:gd name="T14" fmla="*/ 93 w 157"/>
                <a:gd name="T15" fmla="*/ 22 h 157"/>
                <a:gd name="T16" fmla="*/ 79 w 157"/>
                <a:gd name="T17" fmla="*/ 21 h 157"/>
                <a:gd name="T18" fmla="*/ 71 w 157"/>
                <a:gd name="T19" fmla="*/ 0 h 157"/>
                <a:gd name="T20" fmla="*/ 44 w 157"/>
                <a:gd name="T21" fmla="*/ 8 h 157"/>
                <a:gd name="T22" fmla="*/ 47 w 157"/>
                <a:gd name="T23" fmla="*/ 30 h 157"/>
                <a:gd name="T24" fmla="*/ 37 w 157"/>
                <a:gd name="T25" fmla="*/ 38 h 157"/>
                <a:gd name="T26" fmla="*/ 19 w 157"/>
                <a:gd name="T27" fmla="*/ 28 h 157"/>
                <a:gd name="T28" fmla="*/ 4 w 157"/>
                <a:gd name="T29" fmla="*/ 53 h 157"/>
                <a:gd name="T30" fmla="*/ 22 w 157"/>
                <a:gd name="T31" fmla="*/ 66 h 157"/>
                <a:gd name="T32" fmla="*/ 21 w 157"/>
                <a:gd name="T33" fmla="*/ 78 h 157"/>
                <a:gd name="T34" fmla="*/ 0 w 157"/>
                <a:gd name="T35" fmla="*/ 87 h 157"/>
                <a:gd name="T36" fmla="*/ 7 w 157"/>
                <a:gd name="T37" fmla="*/ 112 h 157"/>
                <a:gd name="T38" fmla="*/ 30 w 157"/>
                <a:gd name="T39" fmla="*/ 110 h 157"/>
                <a:gd name="T40" fmla="*/ 37 w 157"/>
                <a:gd name="T41" fmla="*/ 118 h 157"/>
                <a:gd name="T42" fmla="*/ 28 w 157"/>
                <a:gd name="T43" fmla="*/ 140 h 157"/>
                <a:gd name="T44" fmla="*/ 52 w 157"/>
                <a:gd name="T45" fmla="*/ 152 h 157"/>
                <a:gd name="T46" fmla="*/ 65 w 157"/>
                <a:gd name="T47" fmla="*/ 134 h 157"/>
                <a:gd name="T48" fmla="*/ 78 w 157"/>
                <a:gd name="T49" fmla="*/ 136 h 157"/>
                <a:gd name="T50" fmla="*/ 85 w 157"/>
                <a:gd name="T51" fmla="*/ 157 h 157"/>
                <a:gd name="T52" fmla="*/ 113 w 157"/>
                <a:gd name="T53" fmla="*/ 149 h 157"/>
                <a:gd name="T54" fmla="*/ 110 w 157"/>
                <a:gd name="T55" fmla="*/ 127 h 157"/>
                <a:gd name="T56" fmla="*/ 118 w 157"/>
                <a:gd name="T57" fmla="*/ 120 h 157"/>
                <a:gd name="T58" fmla="*/ 139 w 157"/>
                <a:gd name="T59" fmla="*/ 129 h 157"/>
                <a:gd name="T60" fmla="*/ 153 w 157"/>
                <a:gd name="T61" fmla="*/ 105 h 157"/>
                <a:gd name="T62" fmla="*/ 135 w 157"/>
                <a:gd name="T63" fmla="*/ 91 h 157"/>
                <a:gd name="T64" fmla="*/ 136 w 157"/>
                <a:gd name="T65" fmla="*/ 8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 h="157">
                  <a:moveTo>
                    <a:pt x="136" y="80"/>
                  </a:moveTo>
                  <a:cubicBezTo>
                    <a:pt x="157" y="71"/>
                    <a:pt x="157" y="71"/>
                    <a:pt x="157" y="71"/>
                  </a:cubicBezTo>
                  <a:cubicBezTo>
                    <a:pt x="149" y="45"/>
                    <a:pt x="149" y="45"/>
                    <a:pt x="149" y="45"/>
                  </a:cubicBezTo>
                  <a:cubicBezTo>
                    <a:pt x="127" y="48"/>
                    <a:pt x="127" y="48"/>
                    <a:pt x="127" y="48"/>
                  </a:cubicBezTo>
                  <a:cubicBezTo>
                    <a:pt x="125" y="44"/>
                    <a:pt x="123" y="41"/>
                    <a:pt x="120" y="38"/>
                  </a:cubicBezTo>
                  <a:cubicBezTo>
                    <a:pt x="128" y="18"/>
                    <a:pt x="128" y="18"/>
                    <a:pt x="128" y="18"/>
                  </a:cubicBezTo>
                  <a:cubicBezTo>
                    <a:pt x="105" y="4"/>
                    <a:pt x="105" y="4"/>
                    <a:pt x="105" y="4"/>
                  </a:cubicBezTo>
                  <a:cubicBezTo>
                    <a:pt x="93" y="22"/>
                    <a:pt x="93" y="22"/>
                    <a:pt x="93" y="22"/>
                  </a:cubicBezTo>
                  <a:cubicBezTo>
                    <a:pt x="88" y="21"/>
                    <a:pt x="84" y="21"/>
                    <a:pt x="79" y="21"/>
                  </a:cubicBezTo>
                  <a:cubicBezTo>
                    <a:pt x="71" y="0"/>
                    <a:pt x="71" y="0"/>
                    <a:pt x="71" y="0"/>
                  </a:cubicBezTo>
                  <a:cubicBezTo>
                    <a:pt x="44" y="8"/>
                    <a:pt x="44" y="8"/>
                    <a:pt x="44" y="8"/>
                  </a:cubicBezTo>
                  <a:cubicBezTo>
                    <a:pt x="47" y="30"/>
                    <a:pt x="47" y="30"/>
                    <a:pt x="47" y="30"/>
                  </a:cubicBezTo>
                  <a:cubicBezTo>
                    <a:pt x="44" y="32"/>
                    <a:pt x="40" y="35"/>
                    <a:pt x="37" y="38"/>
                  </a:cubicBezTo>
                  <a:cubicBezTo>
                    <a:pt x="19" y="28"/>
                    <a:pt x="19" y="28"/>
                    <a:pt x="19" y="28"/>
                  </a:cubicBezTo>
                  <a:cubicBezTo>
                    <a:pt x="4" y="53"/>
                    <a:pt x="4" y="53"/>
                    <a:pt x="4" y="53"/>
                  </a:cubicBezTo>
                  <a:cubicBezTo>
                    <a:pt x="22" y="66"/>
                    <a:pt x="22" y="66"/>
                    <a:pt x="22" y="66"/>
                  </a:cubicBezTo>
                  <a:cubicBezTo>
                    <a:pt x="21" y="70"/>
                    <a:pt x="21" y="74"/>
                    <a:pt x="21" y="78"/>
                  </a:cubicBezTo>
                  <a:cubicBezTo>
                    <a:pt x="0" y="87"/>
                    <a:pt x="0" y="87"/>
                    <a:pt x="0" y="87"/>
                  </a:cubicBezTo>
                  <a:cubicBezTo>
                    <a:pt x="7" y="112"/>
                    <a:pt x="7" y="112"/>
                    <a:pt x="7" y="112"/>
                  </a:cubicBezTo>
                  <a:cubicBezTo>
                    <a:pt x="30" y="110"/>
                    <a:pt x="30" y="110"/>
                    <a:pt x="30" y="110"/>
                  </a:cubicBezTo>
                  <a:cubicBezTo>
                    <a:pt x="32" y="113"/>
                    <a:pt x="34" y="116"/>
                    <a:pt x="37" y="118"/>
                  </a:cubicBezTo>
                  <a:cubicBezTo>
                    <a:pt x="28" y="140"/>
                    <a:pt x="28" y="140"/>
                    <a:pt x="28" y="140"/>
                  </a:cubicBezTo>
                  <a:cubicBezTo>
                    <a:pt x="52" y="152"/>
                    <a:pt x="52" y="152"/>
                    <a:pt x="52" y="152"/>
                  </a:cubicBezTo>
                  <a:cubicBezTo>
                    <a:pt x="65" y="134"/>
                    <a:pt x="65" y="134"/>
                    <a:pt x="65" y="134"/>
                  </a:cubicBezTo>
                  <a:cubicBezTo>
                    <a:pt x="69" y="135"/>
                    <a:pt x="73" y="136"/>
                    <a:pt x="78" y="136"/>
                  </a:cubicBezTo>
                  <a:cubicBezTo>
                    <a:pt x="85" y="157"/>
                    <a:pt x="85" y="157"/>
                    <a:pt x="85" y="157"/>
                  </a:cubicBezTo>
                  <a:cubicBezTo>
                    <a:pt x="113" y="149"/>
                    <a:pt x="113" y="149"/>
                    <a:pt x="113" y="149"/>
                  </a:cubicBezTo>
                  <a:cubicBezTo>
                    <a:pt x="110" y="127"/>
                    <a:pt x="110" y="127"/>
                    <a:pt x="110" y="127"/>
                  </a:cubicBezTo>
                  <a:cubicBezTo>
                    <a:pt x="113" y="125"/>
                    <a:pt x="116" y="122"/>
                    <a:pt x="118" y="120"/>
                  </a:cubicBezTo>
                  <a:cubicBezTo>
                    <a:pt x="139" y="129"/>
                    <a:pt x="139" y="129"/>
                    <a:pt x="139" y="129"/>
                  </a:cubicBezTo>
                  <a:cubicBezTo>
                    <a:pt x="153" y="105"/>
                    <a:pt x="153" y="105"/>
                    <a:pt x="153" y="105"/>
                  </a:cubicBezTo>
                  <a:cubicBezTo>
                    <a:pt x="135" y="91"/>
                    <a:pt x="135" y="91"/>
                    <a:pt x="135" y="91"/>
                  </a:cubicBezTo>
                  <a:cubicBezTo>
                    <a:pt x="135" y="88"/>
                    <a:pt x="136" y="84"/>
                    <a:pt x="136" y="80"/>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 name="Freeform 8"/>
            <p:cNvSpPr>
              <a:spLocks/>
            </p:cNvSpPr>
            <p:nvPr/>
          </p:nvSpPr>
          <p:spPr bwMode="auto">
            <a:xfrm>
              <a:off x="6265863" y="2686050"/>
              <a:ext cx="876300" cy="884238"/>
            </a:xfrm>
            <a:custGeom>
              <a:avLst/>
              <a:gdLst>
                <a:gd name="T0" fmla="*/ 212 w 234"/>
                <a:gd name="T1" fmla="*/ 119 h 236"/>
                <a:gd name="T2" fmla="*/ 234 w 234"/>
                <a:gd name="T3" fmla="*/ 107 h 236"/>
                <a:gd name="T4" fmla="*/ 232 w 234"/>
                <a:gd name="T5" fmla="*/ 88 h 236"/>
                <a:gd name="T6" fmla="*/ 207 w 234"/>
                <a:gd name="T7" fmla="*/ 87 h 236"/>
                <a:gd name="T8" fmla="*/ 203 w 234"/>
                <a:gd name="T9" fmla="*/ 77 h 236"/>
                <a:gd name="T10" fmla="*/ 218 w 234"/>
                <a:gd name="T11" fmla="*/ 57 h 236"/>
                <a:gd name="T12" fmla="*/ 207 w 234"/>
                <a:gd name="T13" fmla="*/ 42 h 236"/>
                <a:gd name="T14" fmla="*/ 184 w 234"/>
                <a:gd name="T15" fmla="*/ 51 h 236"/>
                <a:gd name="T16" fmla="*/ 176 w 234"/>
                <a:gd name="T17" fmla="*/ 44 h 236"/>
                <a:gd name="T18" fmla="*/ 182 w 234"/>
                <a:gd name="T19" fmla="*/ 19 h 236"/>
                <a:gd name="T20" fmla="*/ 165 w 234"/>
                <a:gd name="T21" fmla="*/ 10 h 236"/>
                <a:gd name="T22" fmla="*/ 149 w 234"/>
                <a:gd name="T23" fmla="*/ 29 h 236"/>
                <a:gd name="T24" fmla="*/ 138 w 234"/>
                <a:gd name="T25" fmla="*/ 26 h 236"/>
                <a:gd name="T26" fmla="*/ 132 w 234"/>
                <a:gd name="T27" fmla="*/ 0 h 236"/>
                <a:gd name="T28" fmla="*/ 114 w 234"/>
                <a:gd name="T29" fmla="*/ 1 h 236"/>
                <a:gd name="T30" fmla="*/ 106 w 234"/>
                <a:gd name="T31" fmla="*/ 25 h 236"/>
                <a:gd name="T32" fmla="*/ 96 w 234"/>
                <a:gd name="T33" fmla="*/ 26 h 236"/>
                <a:gd name="T34" fmla="*/ 80 w 234"/>
                <a:gd name="T35" fmla="*/ 6 h 236"/>
                <a:gd name="T36" fmla="*/ 63 w 234"/>
                <a:gd name="T37" fmla="*/ 14 h 236"/>
                <a:gd name="T38" fmla="*/ 67 w 234"/>
                <a:gd name="T39" fmla="*/ 39 h 236"/>
                <a:gd name="T40" fmla="*/ 58 w 234"/>
                <a:gd name="T41" fmla="*/ 45 h 236"/>
                <a:gd name="T42" fmla="*/ 36 w 234"/>
                <a:gd name="T43" fmla="*/ 34 h 236"/>
                <a:gd name="T44" fmla="*/ 24 w 234"/>
                <a:gd name="T45" fmla="*/ 48 h 236"/>
                <a:gd name="T46" fmla="*/ 38 w 234"/>
                <a:gd name="T47" fmla="*/ 68 h 236"/>
                <a:gd name="T48" fmla="*/ 32 w 234"/>
                <a:gd name="T49" fmla="*/ 78 h 236"/>
                <a:gd name="T50" fmla="*/ 7 w 234"/>
                <a:gd name="T51" fmla="*/ 78 h 236"/>
                <a:gd name="T52" fmla="*/ 2 w 234"/>
                <a:gd name="T53" fmla="*/ 95 h 236"/>
                <a:gd name="T54" fmla="*/ 24 w 234"/>
                <a:gd name="T55" fmla="*/ 109 h 236"/>
                <a:gd name="T56" fmla="*/ 24 w 234"/>
                <a:gd name="T57" fmla="*/ 118 h 236"/>
                <a:gd name="T58" fmla="*/ 24 w 234"/>
                <a:gd name="T59" fmla="*/ 119 h 236"/>
                <a:gd name="T60" fmla="*/ 0 w 234"/>
                <a:gd name="T61" fmla="*/ 130 h 236"/>
                <a:gd name="T62" fmla="*/ 1 w 234"/>
                <a:gd name="T63" fmla="*/ 138 h 236"/>
                <a:gd name="T64" fmla="*/ 49 w 234"/>
                <a:gd name="T65" fmla="*/ 138 h 236"/>
                <a:gd name="T66" fmla="*/ 44 w 234"/>
                <a:gd name="T67" fmla="*/ 110 h 236"/>
                <a:gd name="T68" fmla="*/ 118 w 234"/>
                <a:gd name="T69" fmla="*/ 36 h 236"/>
                <a:gd name="T70" fmla="*/ 192 w 234"/>
                <a:gd name="T71" fmla="*/ 110 h 236"/>
                <a:gd name="T72" fmla="*/ 118 w 234"/>
                <a:gd name="T73" fmla="*/ 184 h 236"/>
                <a:gd name="T74" fmla="*/ 87 w 234"/>
                <a:gd name="T75" fmla="*/ 177 h 236"/>
                <a:gd name="T76" fmla="*/ 87 w 234"/>
                <a:gd name="T77" fmla="*/ 207 h 236"/>
                <a:gd name="T78" fmla="*/ 97 w 234"/>
                <a:gd name="T79" fmla="*/ 210 h 236"/>
                <a:gd name="T80" fmla="*/ 103 w 234"/>
                <a:gd name="T81" fmla="*/ 236 h 236"/>
                <a:gd name="T82" fmla="*/ 121 w 234"/>
                <a:gd name="T83" fmla="*/ 236 h 236"/>
                <a:gd name="T84" fmla="*/ 129 w 234"/>
                <a:gd name="T85" fmla="*/ 212 h 236"/>
                <a:gd name="T86" fmla="*/ 139 w 234"/>
                <a:gd name="T87" fmla="*/ 210 h 236"/>
                <a:gd name="T88" fmla="*/ 155 w 234"/>
                <a:gd name="T89" fmla="*/ 231 h 236"/>
                <a:gd name="T90" fmla="*/ 172 w 234"/>
                <a:gd name="T91" fmla="*/ 223 h 236"/>
                <a:gd name="T92" fmla="*/ 168 w 234"/>
                <a:gd name="T93" fmla="*/ 198 h 236"/>
                <a:gd name="T94" fmla="*/ 176 w 234"/>
                <a:gd name="T95" fmla="*/ 192 h 236"/>
                <a:gd name="T96" fmla="*/ 200 w 234"/>
                <a:gd name="T97" fmla="*/ 203 h 236"/>
                <a:gd name="T98" fmla="*/ 212 w 234"/>
                <a:gd name="T99" fmla="*/ 189 h 236"/>
                <a:gd name="T100" fmla="*/ 198 w 234"/>
                <a:gd name="T101" fmla="*/ 168 h 236"/>
                <a:gd name="T102" fmla="*/ 203 w 234"/>
                <a:gd name="T103" fmla="*/ 159 h 236"/>
                <a:gd name="T104" fmla="*/ 228 w 234"/>
                <a:gd name="T105" fmla="*/ 159 h 236"/>
                <a:gd name="T106" fmla="*/ 234 w 234"/>
                <a:gd name="T107" fmla="*/ 141 h 236"/>
                <a:gd name="T108" fmla="*/ 212 w 234"/>
                <a:gd name="T109" fmla="*/ 129 h 236"/>
                <a:gd name="T110" fmla="*/ 212 w 234"/>
                <a:gd name="T111" fmla="*/ 1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4" h="236">
                  <a:moveTo>
                    <a:pt x="212" y="119"/>
                  </a:moveTo>
                  <a:cubicBezTo>
                    <a:pt x="234" y="107"/>
                    <a:pt x="234" y="107"/>
                    <a:pt x="234" y="107"/>
                  </a:cubicBezTo>
                  <a:cubicBezTo>
                    <a:pt x="232" y="88"/>
                    <a:pt x="232" y="88"/>
                    <a:pt x="232" y="88"/>
                  </a:cubicBezTo>
                  <a:cubicBezTo>
                    <a:pt x="207" y="87"/>
                    <a:pt x="207" y="87"/>
                    <a:pt x="207" y="87"/>
                  </a:cubicBezTo>
                  <a:cubicBezTo>
                    <a:pt x="206" y="84"/>
                    <a:pt x="204" y="80"/>
                    <a:pt x="203" y="77"/>
                  </a:cubicBezTo>
                  <a:cubicBezTo>
                    <a:pt x="218" y="57"/>
                    <a:pt x="218" y="57"/>
                    <a:pt x="218" y="57"/>
                  </a:cubicBezTo>
                  <a:cubicBezTo>
                    <a:pt x="207" y="42"/>
                    <a:pt x="207" y="42"/>
                    <a:pt x="207" y="42"/>
                  </a:cubicBezTo>
                  <a:cubicBezTo>
                    <a:pt x="184" y="51"/>
                    <a:pt x="184" y="51"/>
                    <a:pt x="184" y="51"/>
                  </a:cubicBezTo>
                  <a:cubicBezTo>
                    <a:pt x="181" y="48"/>
                    <a:pt x="179" y="46"/>
                    <a:pt x="176" y="44"/>
                  </a:cubicBezTo>
                  <a:cubicBezTo>
                    <a:pt x="182" y="19"/>
                    <a:pt x="182" y="19"/>
                    <a:pt x="182" y="19"/>
                  </a:cubicBezTo>
                  <a:cubicBezTo>
                    <a:pt x="165" y="10"/>
                    <a:pt x="165" y="10"/>
                    <a:pt x="165" y="10"/>
                  </a:cubicBezTo>
                  <a:cubicBezTo>
                    <a:pt x="149" y="29"/>
                    <a:pt x="149" y="29"/>
                    <a:pt x="149" y="29"/>
                  </a:cubicBezTo>
                  <a:cubicBezTo>
                    <a:pt x="145" y="28"/>
                    <a:pt x="141" y="27"/>
                    <a:pt x="138" y="26"/>
                  </a:cubicBezTo>
                  <a:cubicBezTo>
                    <a:pt x="132" y="0"/>
                    <a:pt x="132" y="0"/>
                    <a:pt x="132" y="0"/>
                  </a:cubicBezTo>
                  <a:cubicBezTo>
                    <a:pt x="114" y="1"/>
                    <a:pt x="114" y="1"/>
                    <a:pt x="114" y="1"/>
                  </a:cubicBezTo>
                  <a:cubicBezTo>
                    <a:pt x="106" y="25"/>
                    <a:pt x="106" y="25"/>
                    <a:pt x="106" y="25"/>
                  </a:cubicBezTo>
                  <a:cubicBezTo>
                    <a:pt x="103" y="25"/>
                    <a:pt x="100" y="26"/>
                    <a:pt x="96" y="26"/>
                  </a:cubicBezTo>
                  <a:cubicBezTo>
                    <a:pt x="80" y="6"/>
                    <a:pt x="80" y="6"/>
                    <a:pt x="80" y="6"/>
                  </a:cubicBezTo>
                  <a:cubicBezTo>
                    <a:pt x="63" y="14"/>
                    <a:pt x="63" y="14"/>
                    <a:pt x="63" y="14"/>
                  </a:cubicBezTo>
                  <a:cubicBezTo>
                    <a:pt x="67" y="39"/>
                    <a:pt x="67" y="39"/>
                    <a:pt x="67" y="39"/>
                  </a:cubicBezTo>
                  <a:cubicBezTo>
                    <a:pt x="64" y="41"/>
                    <a:pt x="61" y="43"/>
                    <a:pt x="58" y="45"/>
                  </a:cubicBezTo>
                  <a:cubicBezTo>
                    <a:pt x="36" y="34"/>
                    <a:pt x="36" y="34"/>
                    <a:pt x="36" y="34"/>
                  </a:cubicBezTo>
                  <a:cubicBezTo>
                    <a:pt x="24" y="48"/>
                    <a:pt x="24" y="48"/>
                    <a:pt x="24" y="48"/>
                  </a:cubicBezTo>
                  <a:cubicBezTo>
                    <a:pt x="38" y="68"/>
                    <a:pt x="38" y="68"/>
                    <a:pt x="38" y="68"/>
                  </a:cubicBezTo>
                  <a:cubicBezTo>
                    <a:pt x="36" y="72"/>
                    <a:pt x="34" y="75"/>
                    <a:pt x="32" y="78"/>
                  </a:cubicBezTo>
                  <a:cubicBezTo>
                    <a:pt x="7" y="78"/>
                    <a:pt x="7" y="78"/>
                    <a:pt x="7" y="78"/>
                  </a:cubicBezTo>
                  <a:cubicBezTo>
                    <a:pt x="2" y="95"/>
                    <a:pt x="2" y="95"/>
                    <a:pt x="2" y="95"/>
                  </a:cubicBezTo>
                  <a:cubicBezTo>
                    <a:pt x="24" y="109"/>
                    <a:pt x="24" y="109"/>
                    <a:pt x="24" y="109"/>
                  </a:cubicBezTo>
                  <a:cubicBezTo>
                    <a:pt x="24" y="112"/>
                    <a:pt x="24" y="115"/>
                    <a:pt x="24" y="118"/>
                  </a:cubicBezTo>
                  <a:cubicBezTo>
                    <a:pt x="24" y="118"/>
                    <a:pt x="24" y="119"/>
                    <a:pt x="24" y="119"/>
                  </a:cubicBezTo>
                  <a:cubicBezTo>
                    <a:pt x="0" y="130"/>
                    <a:pt x="0" y="130"/>
                    <a:pt x="0" y="130"/>
                  </a:cubicBezTo>
                  <a:cubicBezTo>
                    <a:pt x="1" y="138"/>
                    <a:pt x="1" y="138"/>
                    <a:pt x="1" y="138"/>
                  </a:cubicBezTo>
                  <a:cubicBezTo>
                    <a:pt x="49" y="138"/>
                    <a:pt x="49" y="138"/>
                    <a:pt x="49" y="138"/>
                  </a:cubicBezTo>
                  <a:cubicBezTo>
                    <a:pt x="46" y="130"/>
                    <a:pt x="44" y="120"/>
                    <a:pt x="44" y="110"/>
                  </a:cubicBezTo>
                  <a:cubicBezTo>
                    <a:pt x="44" y="69"/>
                    <a:pt x="77" y="36"/>
                    <a:pt x="118" y="36"/>
                  </a:cubicBezTo>
                  <a:cubicBezTo>
                    <a:pt x="159" y="36"/>
                    <a:pt x="192" y="69"/>
                    <a:pt x="192" y="110"/>
                  </a:cubicBezTo>
                  <a:cubicBezTo>
                    <a:pt x="192" y="151"/>
                    <a:pt x="159" y="184"/>
                    <a:pt x="118" y="184"/>
                  </a:cubicBezTo>
                  <a:cubicBezTo>
                    <a:pt x="107" y="184"/>
                    <a:pt x="96" y="182"/>
                    <a:pt x="87" y="177"/>
                  </a:cubicBezTo>
                  <a:cubicBezTo>
                    <a:pt x="87" y="207"/>
                    <a:pt x="87" y="207"/>
                    <a:pt x="87" y="207"/>
                  </a:cubicBezTo>
                  <a:cubicBezTo>
                    <a:pt x="90" y="208"/>
                    <a:pt x="94" y="209"/>
                    <a:pt x="97" y="210"/>
                  </a:cubicBezTo>
                  <a:cubicBezTo>
                    <a:pt x="103" y="236"/>
                    <a:pt x="103" y="236"/>
                    <a:pt x="103" y="236"/>
                  </a:cubicBezTo>
                  <a:cubicBezTo>
                    <a:pt x="121" y="236"/>
                    <a:pt x="121" y="236"/>
                    <a:pt x="121" y="236"/>
                  </a:cubicBezTo>
                  <a:cubicBezTo>
                    <a:pt x="129" y="212"/>
                    <a:pt x="129" y="212"/>
                    <a:pt x="129" y="212"/>
                  </a:cubicBezTo>
                  <a:cubicBezTo>
                    <a:pt x="132" y="211"/>
                    <a:pt x="136" y="211"/>
                    <a:pt x="139" y="210"/>
                  </a:cubicBezTo>
                  <a:cubicBezTo>
                    <a:pt x="155" y="231"/>
                    <a:pt x="155" y="231"/>
                    <a:pt x="155" y="231"/>
                  </a:cubicBezTo>
                  <a:cubicBezTo>
                    <a:pt x="172" y="223"/>
                    <a:pt x="172" y="223"/>
                    <a:pt x="172" y="223"/>
                  </a:cubicBezTo>
                  <a:cubicBezTo>
                    <a:pt x="168" y="198"/>
                    <a:pt x="168" y="198"/>
                    <a:pt x="168" y="198"/>
                  </a:cubicBezTo>
                  <a:cubicBezTo>
                    <a:pt x="171" y="196"/>
                    <a:pt x="174" y="194"/>
                    <a:pt x="176" y="192"/>
                  </a:cubicBezTo>
                  <a:cubicBezTo>
                    <a:pt x="200" y="203"/>
                    <a:pt x="200" y="203"/>
                    <a:pt x="200" y="203"/>
                  </a:cubicBezTo>
                  <a:cubicBezTo>
                    <a:pt x="212" y="189"/>
                    <a:pt x="212" y="189"/>
                    <a:pt x="212" y="189"/>
                  </a:cubicBezTo>
                  <a:cubicBezTo>
                    <a:pt x="198" y="168"/>
                    <a:pt x="198" y="168"/>
                    <a:pt x="198" y="168"/>
                  </a:cubicBezTo>
                  <a:cubicBezTo>
                    <a:pt x="200" y="165"/>
                    <a:pt x="201" y="162"/>
                    <a:pt x="203" y="159"/>
                  </a:cubicBezTo>
                  <a:cubicBezTo>
                    <a:pt x="228" y="159"/>
                    <a:pt x="228" y="159"/>
                    <a:pt x="228" y="159"/>
                  </a:cubicBezTo>
                  <a:cubicBezTo>
                    <a:pt x="234" y="141"/>
                    <a:pt x="234" y="141"/>
                    <a:pt x="234" y="141"/>
                  </a:cubicBezTo>
                  <a:cubicBezTo>
                    <a:pt x="212" y="129"/>
                    <a:pt x="212" y="129"/>
                    <a:pt x="212" y="129"/>
                  </a:cubicBezTo>
                  <a:cubicBezTo>
                    <a:pt x="212" y="125"/>
                    <a:pt x="212" y="122"/>
                    <a:pt x="212" y="119"/>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11420929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to Developers – Why?</a:t>
            </a:r>
            <a:endParaRPr lang="en-US" dirty="0"/>
          </a:p>
        </p:txBody>
      </p:sp>
      <p:sp>
        <p:nvSpPr>
          <p:cNvPr id="3" name="Content Placeholder 2"/>
          <p:cNvSpPr>
            <a:spLocks noGrp="1"/>
          </p:cNvSpPr>
          <p:nvPr>
            <p:ph type="body" sz="quarter" idx="10"/>
          </p:nvPr>
        </p:nvSpPr>
        <p:spPr>
          <a:xfrm>
            <a:off x="519112" y="1417319"/>
            <a:ext cx="11149013" cy="3116238"/>
          </a:xfrm>
        </p:spPr>
        <p:txBody>
          <a:bodyPr/>
          <a:lstStyle/>
          <a:p>
            <a:r>
              <a:rPr lang="en-US" dirty="0" smtClean="0">
                <a:solidFill>
                  <a:schemeClr val="accent3">
                    <a:alpha val="99000"/>
                  </a:schemeClr>
                </a:solidFill>
              </a:rPr>
              <a:t>No need to re-write infrastructure for managing </a:t>
            </a:r>
            <a:br>
              <a:rPr lang="en-US" dirty="0" smtClean="0">
                <a:solidFill>
                  <a:schemeClr val="accent3">
                    <a:alpha val="99000"/>
                  </a:schemeClr>
                </a:solidFill>
              </a:rPr>
            </a:br>
            <a:r>
              <a:rPr lang="en-US" dirty="0" smtClean="0">
                <a:solidFill>
                  <a:schemeClr val="accent3">
                    <a:alpha val="99000"/>
                  </a:schemeClr>
                </a:solidFill>
              </a:rPr>
              <a:t>the app lifetime, focus on the app</a:t>
            </a:r>
          </a:p>
          <a:p>
            <a:pPr lvl="1">
              <a:spcAft>
                <a:spcPts val="600"/>
              </a:spcAft>
            </a:pPr>
            <a:r>
              <a:rPr lang="en-US" dirty="0" smtClean="0"/>
              <a:t>Better granularity of control and access for actions(tasks) within a run</a:t>
            </a:r>
          </a:p>
          <a:p>
            <a:pPr lvl="1">
              <a:spcAft>
                <a:spcPts val="600"/>
              </a:spcAft>
            </a:pPr>
            <a:r>
              <a:rPr lang="en-US" dirty="0" smtClean="0"/>
              <a:t>Offer capability like cancel, re-queue, addition to existing tasks</a:t>
            </a:r>
          </a:p>
          <a:p>
            <a:pPr lvl="1">
              <a:spcAft>
                <a:spcPts val="600"/>
              </a:spcAft>
            </a:pPr>
            <a:r>
              <a:rPr lang="en-US" dirty="0" smtClean="0"/>
              <a:t>Offer Job/task level auditing – CPU, Memory usage, task location</a:t>
            </a:r>
          </a:p>
          <a:p>
            <a:pPr lvl="1">
              <a:spcAft>
                <a:spcPts val="600"/>
              </a:spcAft>
            </a:pPr>
            <a:r>
              <a:rPr lang="en-US" dirty="0" smtClean="0"/>
              <a:t>As runtimes ( MPI, SOA, parameter sweep)  become available, Applications </a:t>
            </a:r>
            <a:br>
              <a:rPr lang="en-US" dirty="0" smtClean="0"/>
            </a:br>
            <a:r>
              <a:rPr lang="en-US" dirty="0" smtClean="0"/>
              <a:t>can leverage the integration of the runtimes with the HPC Scheduler</a:t>
            </a:r>
          </a:p>
        </p:txBody>
      </p:sp>
      <p:grpSp>
        <p:nvGrpSpPr>
          <p:cNvPr id="10" name="Group 9"/>
          <p:cNvGrpSpPr/>
          <p:nvPr/>
        </p:nvGrpSpPr>
        <p:grpSpPr bwMode="black">
          <a:xfrm>
            <a:off x="9079750" y="3318518"/>
            <a:ext cx="1458483" cy="2945757"/>
            <a:chOff x="2593975" y="2552700"/>
            <a:chExt cx="469901" cy="949325"/>
          </a:xfrm>
        </p:grpSpPr>
        <p:sp>
          <p:nvSpPr>
            <p:cNvPr id="11"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2"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01941187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6486123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Agenda</a:t>
            </a:r>
            <a:endParaRPr lang="en-US" dirty="0"/>
          </a:p>
        </p:txBody>
      </p:sp>
      <p:sp>
        <p:nvSpPr>
          <p:cNvPr id="2" name="Text Placeholder 1"/>
          <p:cNvSpPr>
            <a:spLocks noGrp="1"/>
          </p:cNvSpPr>
          <p:nvPr>
            <p:ph type="body" sz="quarter" idx="11"/>
          </p:nvPr>
        </p:nvSpPr>
        <p:spPr>
          <a:xfrm>
            <a:off x="3473805" y="1685648"/>
            <a:ext cx="6436549" cy="4705904"/>
          </a:xfrm>
        </p:spPr>
        <p:txBody>
          <a:bodyPr/>
          <a:lstStyle/>
          <a:p>
            <a:pPr lvl="0">
              <a:lnSpc>
                <a:spcPct val="90000"/>
              </a:lnSpc>
              <a:spcBef>
                <a:spcPct val="20000"/>
              </a:spcBef>
            </a:pPr>
            <a:r>
              <a:rPr lang="en-US" sz="3200" dirty="0">
                <a:ln>
                  <a:noFill/>
                </a:ln>
              </a:rPr>
              <a:t>Who will benefit from this talk</a:t>
            </a:r>
          </a:p>
          <a:p>
            <a:pPr lvl="0">
              <a:lnSpc>
                <a:spcPct val="90000"/>
              </a:lnSpc>
              <a:spcBef>
                <a:spcPts val="600"/>
              </a:spcBef>
              <a:spcAft>
                <a:spcPts val="0"/>
              </a:spcAft>
            </a:pPr>
            <a:r>
              <a:rPr lang="en-US" sz="1800" dirty="0">
                <a:ln>
                  <a:noFill/>
                </a:ln>
                <a:latin typeface="Segoe UI"/>
              </a:rPr>
              <a:t>Developers of computational intensive apps</a:t>
            </a:r>
          </a:p>
          <a:p>
            <a:pPr marL="0" lvl="0" indent="3175">
              <a:lnSpc>
                <a:spcPct val="90000"/>
              </a:lnSpc>
              <a:spcBef>
                <a:spcPts val="600"/>
              </a:spcBef>
              <a:spcAft>
                <a:spcPts val="600"/>
              </a:spcAft>
            </a:pPr>
            <a:r>
              <a:rPr lang="en-US" sz="1800" dirty="0" smtClean="0">
                <a:ln>
                  <a:noFill/>
                </a:ln>
                <a:latin typeface="Segoe UI"/>
              </a:rPr>
              <a:t>App </a:t>
            </a:r>
            <a:r>
              <a:rPr lang="en-US" sz="1800" dirty="0">
                <a:ln>
                  <a:noFill/>
                </a:ln>
                <a:latin typeface="Segoe UI"/>
              </a:rPr>
              <a:t>developers who  would like to support “bursting” computational work from apps to Windows Azure</a:t>
            </a:r>
          </a:p>
          <a:p>
            <a:pPr lvl="0">
              <a:lnSpc>
                <a:spcPct val="90000"/>
              </a:lnSpc>
              <a:spcBef>
                <a:spcPct val="20000"/>
              </a:spcBef>
            </a:pPr>
            <a:r>
              <a:rPr lang="en-US" sz="3200" dirty="0" smtClean="0">
                <a:ln>
                  <a:noFill/>
                </a:ln>
              </a:rPr>
              <a:t>Topics</a:t>
            </a:r>
            <a:endParaRPr lang="en-US" sz="3200" dirty="0">
              <a:ln>
                <a:noFill/>
              </a:ln>
            </a:endParaRPr>
          </a:p>
          <a:p>
            <a:pPr lvl="0">
              <a:lnSpc>
                <a:spcPct val="90000"/>
              </a:lnSpc>
              <a:spcBef>
                <a:spcPts val="600"/>
              </a:spcBef>
              <a:spcAft>
                <a:spcPts val="0"/>
              </a:spcAft>
            </a:pPr>
            <a:r>
              <a:rPr lang="en-US" sz="1800" dirty="0" smtClean="0">
                <a:ln>
                  <a:noFill/>
                </a:ln>
                <a:latin typeface="Segoe UI"/>
              </a:rPr>
              <a:t>What is the Windows Azure Scheduler</a:t>
            </a:r>
          </a:p>
          <a:p>
            <a:pPr marL="0" indent="3175">
              <a:lnSpc>
                <a:spcPct val="90000"/>
              </a:lnSpc>
              <a:spcBef>
                <a:spcPts val="600"/>
              </a:spcBef>
              <a:spcAft>
                <a:spcPts val="600"/>
              </a:spcAft>
            </a:pPr>
            <a:r>
              <a:rPr lang="en-US" sz="1800" dirty="0">
                <a:ln>
                  <a:noFill/>
                </a:ln>
                <a:latin typeface="Segoe UI"/>
              </a:rPr>
              <a:t>Using the Azure Scheduler and HPC Runtimes</a:t>
            </a:r>
          </a:p>
          <a:p>
            <a:pPr lvl="0">
              <a:lnSpc>
                <a:spcPct val="90000"/>
              </a:lnSpc>
              <a:spcBef>
                <a:spcPct val="20000"/>
              </a:spcBef>
            </a:pPr>
            <a:r>
              <a:rPr lang="en-US" sz="3200" dirty="0" smtClean="0">
                <a:ln>
                  <a:noFill/>
                </a:ln>
              </a:rPr>
              <a:t>What </a:t>
            </a:r>
            <a:r>
              <a:rPr lang="en-US" sz="3200" dirty="0">
                <a:ln>
                  <a:noFill/>
                </a:ln>
              </a:rPr>
              <a:t>you’ll leave with</a:t>
            </a:r>
          </a:p>
          <a:p>
            <a:pPr marL="0" lvl="0" indent="3175">
              <a:lnSpc>
                <a:spcPct val="90000"/>
              </a:lnSpc>
              <a:spcBef>
                <a:spcPts val="600"/>
              </a:spcBef>
              <a:spcAft>
                <a:spcPts val="0"/>
              </a:spcAft>
            </a:pPr>
            <a:r>
              <a:rPr lang="en-US" sz="1800" dirty="0">
                <a:ln>
                  <a:noFill/>
                </a:ln>
                <a:latin typeface="Segoe UI"/>
              </a:rPr>
              <a:t>How easy it is to build computational intensive services within Windows Azure using the Windows Azure Scheduler and </a:t>
            </a:r>
            <a:r>
              <a:rPr lang="en-US" sz="1800" dirty="0" smtClean="0">
                <a:ln>
                  <a:noFill/>
                </a:ln>
                <a:latin typeface="Segoe UI"/>
              </a:rPr>
              <a:t/>
            </a:r>
            <a:br>
              <a:rPr lang="en-US" sz="1800" dirty="0" smtClean="0">
                <a:ln>
                  <a:noFill/>
                </a:ln>
                <a:latin typeface="Segoe UI"/>
              </a:rPr>
            </a:br>
            <a:r>
              <a:rPr lang="en-US" sz="1800" dirty="0" smtClean="0">
                <a:ln>
                  <a:noFill/>
                </a:ln>
                <a:latin typeface="Segoe UI"/>
              </a:rPr>
              <a:t>HPC </a:t>
            </a:r>
            <a:r>
              <a:rPr lang="en-US" sz="1800" dirty="0">
                <a:ln>
                  <a:noFill/>
                </a:ln>
                <a:latin typeface="Segoe UI"/>
              </a:rPr>
              <a:t>Runtimes</a:t>
            </a:r>
          </a:p>
        </p:txBody>
      </p:sp>
    </p:spTree>
    <p:extLst>
      <p:ext uri="{BB962C8B-B14F-4D97-AF65-F5344CB8AC3E}">
        <p14:creationId xmlns:p14="http://schemas.microsoft.com/office/powerpoint/2010/main" val="14076061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to Developers – Why?</a:t>
            </a:r>
            <a:endParaRPr lang="en-US" dirty="0"/>
          </a:p>
        </p:txBody>
      </p:sp>
      <p:sp>
        <p:nvSpPr>
          <p:cNvPr id="3" name="Content Placeholder 2"/>
          <p:cNvSpPr>
            <a:spLocks noGrp="1"/>
          </p:cNvSpPr>
          <p:nvPr>
            <p:ph type="body" sz="quarter" idx="10"/>
          </p:nvPr>
        </p:nvSpPr>
        <p:spPr>
          <a:xfrm>
            <a:off x="519112" y="1417319"/>
            <a:ext cx="9529349" cy="3524042"/>
          </a:xfrm>
        </p:spPr>
        <p:txBody>
          <a:bodyPr/>
          <a:lstStyle/>
          <a:p>
            <a:r>
              <a:rPr lang="en-US" sz="3600" dirty="0" smtClean="0">
                <a:solidFill>
                  <a:schemeClr val="accent3">
                    <a:alpha val="99000"/>
                  </a:schemeClr>
                </a:solidFill>
              </a:rPr>
              <a:t>Use same API to work against the HPC scheduler and runtime on premise or in Windows Azure</a:t>
            </a:r>
          </a:p>
          <a:p>
            <a:r>
              <a:rPr lang="en-US" sz="3600" dirty="0" smtClean="0">
                <a:solidFill>
                  <a:schemeClr val="accent3">
                    <a:alpha val="99000"/>
                  </a:schemeClr>
                </a:solidFill>
              </a:rPr>
              <a:t>Make the application available in Windows Azure right away, while longer term platform features emerge</a:t>
            </a:r>
          </a:p>
          <a:p>
            <a:pPr lvl="1">
              <a:spcAft>
                <a:spcPts val="600"/>
              </a:spcAft>
            </a:pPr>
            <a:r>
              <a:rPr lang="en-US" dirty="0" smtClean="0"/>
              <a:t>Users brings their own license</a:t>
            </a:r>
          </a:p>
          <a:p>
            <a:pPr lvl="1">
              <a:spcAft>
                <a:spcPts val="600"/>
              </a:spcAft>
            </a:pPr>
            <a:r>
              <a:rPr lang="en-US" dirty="0" smtClean="0"/>
              <a:t>Users get billed by azure directly</a:t>
            </a:r>
          </a:p>
          <a:p>
            <a:pPr lvl="1">
              <a:spcAft>
                <a:spcPts val="600"/>
              </a:spcAft>
            </a:pPr>
            <a:r>
              <a:rPr lang="en-US" dirty="0" smtClean="0"/>
              <a:t>Security via isolated deployment per customer</a:t>
            </a:r>
            <a:endParaRPr lang="en-US" dirty="0"/>
          </a:p>
        </p:txBody>
      </p:sp>
      <p:grpSp>
        <p:nvGrpSpPr>
          <p:cNvPr id="5" name="Group 4"/>
          <p:cNvGrpSpPr/>
          <p:nvPr/>
        </p:nvGrpSpPr>
        <p:grpSpPr bwMode="black">
          <a:xfrm>
            <a:off x="9079750" y="3318518"/>
            <a:ext cx="1458483" cy="2945757"/>
            <a:chOff x="2593975" y="2552700"/>
            <a:chExt cx="469901" cy="949325"/>
          </a:xfrm>
        </p:grpSpPr>
        <p:sp>
          <p:nvSpPr>
            <p:cNvPr id="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42095965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Wrapping It Up</a:t>
            </a:r>
            <a:endParaRPr lang="en-US" dirty="0"/>
          </a:p>
        </p:txBody>
      </p:sp>
      <p:sp>
        <p:nvSpPr>
          <p:cNvPr id="6" name="Freeform 6"/>
          <p:cNvSpPr>
            <a:spLocks noEditPoints="1"/>
          </p:cNvSpPr>
          <p:nvPr/>
        </p:nvSpPr>
        <p:spPr bwMode="auto">
          <a:xfrm>
            <a:off x="7962489" y="2286001"/>
            <a:ext cx="2293408" cy="2380100"/>
          </a:xfrm>
          <a:custGeom>
            <a:avLst/>
            <a:gdLst>
              <a:gd name="T0" fmla="*/ 780 w 862"/>
              <a:gd name="T1" fmla="*/ 743 h 895"/>
              <a:gd name="T2" fmla="*/ 787 w 862"/>
              <a:gd name="T3" fmla="*/ 750 h 895"/>
              <a:gd name="T4" fmla="*/ 780 w 862"/>
              <a:gd name="T5" fmla="*/ 757 h 895"/>
              <a:gd name="T6" fmla="*/ 479 w 862"/>
              <a:gd name="T7" fmla="*/ 895 h 895"/>
              <a:gd name="T8" fmla="*/ 451 w 862"/>
              <a:gd name="T9" fmla="*/ 895 h 895"/>
              <a:gd name="T10" fmla="*/ 164 w 862"/>
              <a:gd name="T11" fmla="*/ 785 h 895"/>
              <a:gd name="T12" fmla="*/ 137 w 862"/>
              <a:gd name="T13" fmla="*/ 757 h 895"/>
              <a:gd name="T14" fmla="*/ 27 w 862"/>
              <a:gd name="T15" fmla="*/ 853 h 895"/>
              <a:gd name="T16" fmla="*/ 0 w 862"/>
              <a:gd name="T17" fmla="*/ 509 h 895"/>
              <a:gd name="T18" fmla="*/ 342 w 862"/>
              <a:gd name="T19" fmla="*/ 578 h 895"/>
              <a:gd name="T20" fmla="*/ 232 w 862"/>
              <a:gd name="T21" fmla="*/ 661 h 895"/>
              <a:gd name="T22" fmla="*/ 273 w 862"/>
              <a:gd name="T23" fmla="*/ 688 h 895"/>
              <a:gd name="T24" fmla="*/ 451 w 862"/>
              <a:gd name="T25" fmla="*/ 757 h 895"/>
              <a:gd name="T26" fmla="*/ 465 w 862"/>
              <a:gd name="T27" fmla="*/ 757 h 895"/>
              <a:gd name="T28" fmla="*/ 670 w 862"/>
              <a:gd name="T29" fmla="*/ 661 h 895"/>
              <a:gd name="T30" fmla="*/ 676 w 862"/>
              <a:gd name="T31" fmla="*/ 654 h 895"/>
              <a:gd name="T32" fmla="*/ 684 w 862"/>
              <a:gd name="T33" fmla="*/ 661 h 895"/>
              <a:gd name="T34" fmla="*/ 780 w 862"/>
              <a:gd name="T35" fmla="*/ 743 h 895"/>
              <a:gd name="T36" fmla="*/ 780 w 862"/>
              <a:gd name="T37" fmla="*/ 743 h 895"/>
              <a:gd name="T38" fmla="*/ 862 w 862"/>
              <a:gd name="T39" fmla="*/ 399 h 895"/>
              <a:gd name="T40" fmla="*/ 834 w 862"/>
              <a:gd name="T41" fmla="*/ 55 h 895"/>
              <a:gd name="T42" fmla="*/ 730 w 862"/>
              <a:gd name="T43" fmla="*/ 146 h 895"/>
              <a:gd name="T44" fmla="*/ 725 w 862"/>
              <a:gd name="T45" fmla="*/ 138 h 895"/>
              <a:gd name="T46" fmla="*/ 697 w 862"/>
              <a:gd name="T47" fmla="*/ 110 h 895"/>
              <a:gd name="T48" fmla="*/ 397 w 862"/>
              <a:gd name="T49" fmla="*/ 0 h 895"/>
              <a:gd name="T50" fmla="*/ 383 w 862"/>
              <a:gd name="T51" fmla="*/ 0 h 895"/>
              <a:gd name="T52" fmla="*/ 82 w 862"/>
              <a:gd name="T53" fmla="*/ 138 h 895"/>
              <a:gd name="T54" fmla="*/ 76 w 862"/>
              <a:gd name="T55" fmla="*/ 144 h 895"/>
              <a:gd name="T56" fmla="*/ 178 w 862"/>
              <a:gd name="T57" fmla="*/ 234 h 895"/>
              <a:gd name="T58" fmla="*/ 178 w 862"/>
              <a:gd name="T59" fmla="*/ 234 h 895"/>
              <a:gd name="T60" fmla="*/ 383 w 862"/>
              <a:gd name="T61" fmla="*/ 138 h 895"/>
              <a:gd name="T62" fmla="*/ 397 w 862"/>
              <a:gd name="T63" fmla="*/ 138 h 895"/>
              <a:gd name="T64" fmla="*/ 588 w 862"/>
              <a:gd name="T65" fmla="*/ 193 h 895"/>
              <a:gd name="T66" fmla="*/ 629 w 862"/>
              <a:gd name="T67" fmla="*/ 234 h 895"/>
              <a:gd name="T68" fmla="*/ 520 w 862"/>
              <a:gd name="T69" fmla="*/ 330 h 895"/>
              <a:gd name="T70" fmla="*/ 862 w 862"/>
              <a:gd name="T71" fmla="*/ 399 h 895"/>
              <a:gd name="T72" fmla="*/ 862 w 862"/>
              <a:gd name="T73" fmla="*/ 39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2" h="895">
                <a:moveTo>
                  <a:pt x="780" y="743"/>
                </a:moveTo>
                <a:cubicBezTo>
                  <a:pt x="787" y="750"/>
                  <a:pt x="787" y="750"/>
                  <a:pt x="787" y="750"/>
                </a:cubicBezTo>
                <a:cubicBezTo>
                  <a:pt x="780" y="757"/>
                  <a:pt x="780" y="757"/>
                  <a:pt x="780" y="757"/>
                </a:cubicBezTo>
                <a:cubicBezTo>
                  <a:pt x="697" y="840"/>
                  <a:pt x="588" y="881"/>
                  <a:pt x="479" y="895"/>
                </a:cubicBezTo>
                <a:cubicBezTo>
                  <a:pt x="465" y="895"/>
                  <a:pt x="465" y="895"/>
                  <a:pt x="451" y="895"/>
                </a:cubicBezTo>
                <a:cubicBezTo>
                  <a:pt x="356" y="895"/>
                  <a:pt x="246" y="853"/>
                  <a:pt x="164" y="785"/>
                </a:cubicBezTo>
                <a:cubicBezTo>
                  <a:pt x="137" y="757"/>
                  <a:pt x="137" y="757"/>
                  <a:pt x="137" y="757"/>
                </a:cubicBezTo>
                <a:cubicBezTo>
                  <a:pt x="27" y="853"/>
                  <a:pt x="27" y="853"/>
                  <a:pt x="27" y="853"/>
                </a:cubicBezTo>
                <a:cubicBezTo>
                  <a:pt x="0" y="509"/>
                  <a:pt x="0" y="509"/>
                  <a:pt x="0" y="509"/>
                </a:cubicBezTo>
                <a:cubicBezTo>
                  <a:pt x="342" y="578"/>
                  <a:pt x="342" y="578"/>
                  <a:pt x="342" y="578"/>
                </a:cubicBezTo>
                <a:cubicBezTo>
                  <a:pt x="232" y="661"/>
                  <a:pt x="232" y="661"/>
                  <a:pt x="232" y="661"/>
                </a:cubicBezTo>
                <a:cubicBezTo>
                  <a:pt x="273" y="688"/>
                  <a:pt x="273" y="688"/>
                  <a:pt x="273" y="688"/>
                </a:cubicBezTo>
                <a:cubicBezTo>
                  <a:pt x="328" y="729"/>
                  <a:pt x="397" y="757"/>
                  <a:pt x="451" y="757"/>
                </a:cubicBezTo>
                <a:cubicBezTo>
                  <a:pt x="465" y="757"/>
                  <a:pt x="465" y="757"/>
                  <a:pt x="465" y="757"/>
                </a:cubicBezTo>
                <a:cubicBezTo>
                  <a:pt x="547" y="743"/>
                  <a:pt x="615" y="716"/>
                  <a:pt x="670" y="661"/>
                </a:cubicBezTo>
                <a:cubicBezTo>
                  <a:pt x="676" y="654"/>
                  <a:pt x="676" y="654"/>
                  <a:pt x="676" y="654"/>
                </a:cubicBezTo>
                <a:cubicBezTo>
                  <a:pt x="684" y="661"/>
                  <a:pt x="684" y="661"/>
                  <a:pt x="684" y="661"/>
                </a:cubicBezTo>
                <a:cubicBezTo>
                  <a:pt x="780" y="743"/>
                  <a:pt x="780" y="743"/>
                  <a:pt x="780" y="743"/>
                </a:cubicBezTo>
                <a:cubicBezTo>
                  <a:pt x="780" y="743"/>
                  <a:pt x="780" y="743"/>
                  <a:pt x="780" y="743"/>
                </a:cubicBezTo>
                <a:close/>
                <a:moveTo>
                  <a:pt x="862" y="399"/>
                </a:moveTo>
                <a:cubicBezTo>
                  <a:pt x="834" y="55"/>
                  <a:pt x="834" y="55"/>
                  <a:pt x="834" y="55"/>
                </a:cubicBezTo>
                <a:cubicBezTo>
                  <a:pt x="730" y="146"/>
                  <a:pt x="730" y="146"/>
                  <a:pt x="730" y="146"/>
                </a:cubicBezTo>
                <a:cubicBezTo>
                  <a:pt x="725" y="138"/>
                  <a:pt x="725" y="138"/>
                  <a:pt x="725" y="138"/>
                </a:cubicBezTo>
                <a:cubicBezTo>
                  <a:pt x="697" y="110"/>
                  <a:pt x="697" y="110"/>
                  <a:pt x="697" y="110"/>
                </a:cubicBezTo>
                <a:cubicBezTo>
                  <a:pt x="615" y="41"/>
                  <a:pt x="506" y="0"/>
                  <a:pt x="397" y="0"/>
                </a:cubicBezTo>
                <a:cubicBezTo>
                  <a:pt x="383" y="0"/>
                  <a:pt x="383" y="0"/>
                  <a:pt x="383" y="0"/>
                </a:cubicBezTo>
                <a:cubicBezTo>
                  <a:pt x="273" y="0"/>
                  <a:pt x="166" y="57"/>
                  <a:pt x="82" y="138"/>
                </a:cubicBezTo>
                <a:cubicBezTo>
                  <a:pt x="77" y="142"/>
                  <a:pt x="76" y="144"/>
                  <a:pt x="76" y="144"/>
                </a:cubicBezTo>
                <a:cubicBezTo>
                  <a:pt x="186" y="241"/>
                  <a:pt x="178" y="234"/>
                  <a:pt x="178" y="234"/>
                </a:cubicBezTo>
                <a:cubicBezTo>
                  <a:pt x="178" y="234"/>
                  <a:pt x="178" y="234"/>
                  <a:pt x="178" y="234"/>
                </a:cubicBezTo>
                <a:cubicBezTo>
                  <a:pt x="232" y="179"/>
                  <a:pt x="315" y="138"/>
                  <a:pt x="383" y="138"/>
                </a:cubicBezTo>
                <a:cubicBezTo>
                  <a:pt x="397" y="138"/>
                  <a:pt x="397" y="138"/>
                  <a:pt x="397" y="138"/>
                </a:cubicBezTo>
                <a:cubicBezTo>
                  <a:pt x="465" y="138"/>
                  <a:pt x="533" y="165"/>
                  <a:pt x="588" y="193"/>
                </a:cubicBezTo>
                <a:cubicBezTo>
                  <a:pt x="629" y="234"/>
                  <a:pt x="629" y="234"/>
                  <a:pt x="629" y="234"/>
                </a:cubicBezTo>
                <a:cubicBezTo>
                  <a:pt x="520" y="330"/>
                  <a:pt x="520" y="330"/>
                  <a:pt x="520" y="330"/>
                </a:cubicBezTo>
                <a:cubicBezTo>
                  <a:pt x="862" y="399"/>
                  <a:pt x="862" y="399"/>
                  <a:pt x="862" y="399"/>
                </a:cubicBezTo>
                <a:cubicBezTo>
                  <a:pt x="862" y="399"/>
                  <a:pt x="862" y="399"/>
                  <a:pt x="862" y="39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64021878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17525" y="1141413"/>
            <a:ext cx="4572000" cy="45688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182880" numCol="1" rtlCol="0" anchor="t" anchorCtr="0" compatLnSpc="1">
            <a:prstTxWarp prst="textNoShape">
              <a:avLst/>
            </a:prstTxWarp>
          </a:bodyPr>
          <a:lstStyle/>
          <a:p>
            <a:pPr defTabSz="914099" fontAlgn="base">
              <a:spcBef>
                <a:spcPct val="0"/>
              </a:spcBef>
              <a:spcAft>
                <a:spcPct val="0"/>
              </a:spcAft>
            </a:pPr>
            <a:r>
              <a:rPr lang="en-US" sz="6000" spc="-100" dirty="0">
                <a:ln w="3175">
                  <a:solidFill>
                    <a:srgbClr val="FFFFFF">
                      <a:alpha val="0"/>
                    </a:srgbClr>
                  </a:solidFill>
                </a:ln>
                <a:solidFill>
                  <a:schemeClr val="bg1">
                    <a:alpha val="99000"/>
                  </a:schemeClr>
                </a:solidFill>
                <a:latin typeface="Segoe UI Light" pitchFamily="34" charset="0"/>
                <a:cs typeface="Segoe UI" pitchFamily="34" charset="0"/>
              </a:rPr>
              <a:t>Who would </a:t>
            </a:r>
            <a:r>
              <a:rPr lang="en-US" sz="6000" spc="-100" dirty="0" smtClean="0">
                <a:ln w="3175">
                  <a:solidFill>
                    <a:srgbClr val="FFFFFF">
                      <a:alpha val="0"/>
                    </a:srgbClr>
                  </a:solidFill>
                </a:ln>
                <a:solidFill>
                  <a:schemeClr val="bg1">
                    <a:alpha val="99000"/>
                  </a:schemeClr>
                </a:solidFill>
                <a:latin typeface="Segoe UI Light" pitchFamily="34" charset="0"/>
                <a:cs typeface="Segoe UI" pitchFamily="34" charset="0"/>
              </a:rPr>
              <a:t/>
            </a:r>
            <a:br>
              <a:rPr lang="en-US" sz="6000" spc="-100" dirty="0" smtClean="0">
                <a:ln w="3175">
                  <a:solidFill>
                    <a:srgbClr val="FFFFFF">
                      <a:alpha val="0"/>
                    </a:srgbClr>
                  </a:solidFill>
                </a:ln>
                <a:solidFill>
                  <a:schemeClr val="bg1">
                    <a:alpha val="99000"/>
                  </a:schemeClr>
                </a:solidFill>
                <a:latin typeface="Segoe UI Light" pitchFamily="34" charset="0"/>
                <a:cs typeface="Segoe UI" pitchFamily="34" charset="0"/>
              </a:rPr>
            </a:br>
            <a:r>
              <a:rPr lang="en-US" sz="6000" spc="-100" dirty="0" smtClean="0">
                <a:ln w="3175">
                  <a:solidFill>
                    <a:srgbClr val="FFFFFF">
                      <a:alpha val="0"/>
                    </a:srgbClr>
                  </a:solidFill>
                </a:ln>
                <a:solidFill>
                  <a:schemeClr val="bg1">
                    <a:alpha val="99000"/>
                  </a:schemeClr>
                </a:solidFill>
                <a:latin typeface="Segoe UI Light" pitchFamily="34" charset="0"/>
                <a:cs typeface="Segoe UI" pitchFamily="34" charset="0"/>
              </a:rPr>
              <a:t>use </a:t>
            </a:r>
            <a:r>
              <a:rPr lang="en-US" sz="6000" spc="-100" dirty="0">
                <a:ln w="3175">
                  <a:solidFill>
                    <a:srgbClr val="FFFFFF">
                      <a:alpha val="0"/>
                    </a:srgbClr>
                  </a:solidFill>
                </a:ln>
                <a:solidFill>
                  <a:schemeClr val="bg1">
                    <a:alpha val="99000"/>
                  </a:schemeClr>
                </a:solidFill>
                <a:latin typeface="Segoe UI Light" pitchFamily="34" charset="0"/>
                <a:cs typeface="Segoe UI" pitchFamily="34" charset="0"/>
              </a:rPr>
              <a:t>it?</a:t>
            </a:r>
            <a:endParaRPr lang="en-US" sz="2800" dirty="0" smtClean="0">
              <a:solidFill>
                <a:schemeClr val="bg1">
                  <a:alpha val="99000"/>
                </a:schemeClr>
              </a:solidFill>
            </a:endParaRPr>
          </a:p>
        </p:txBody>
      </p:sp>
      <p:sp>
        <p:nvSpPr>
          <p:cNvPr id="3" name="Content Placeholder 2"/>
          <p:cNvSpPr>
            <a:spLocks noGrp="1"/>
          </p:cNvSpPr>
          <p:nvPr>
            <p:ph type="body" sz="quarter" idx="10"/>
          </p:nvPr>
        </p:nvSpPr>
        <p:spPr>
          <a:xfrm>
            <a:off x="5523722" y="999508"/>
            <a:ext cx="5528582" cy="4809009"/>
          </a:xfrm>
        </p:spPr>
        <p:txBody>
          <a:bodyPr/>
          <a:lstStyle/>
          <a:p>
            <a:r>
              <a:rPr lang="en-US" dirty="0" smtClean="0">
                <a:solidFill>
                  <a:schemeClr val="accent3">
                    <a:alpha val="99000"/>
                  </a:schemeClr>
                </a:solidFill>
              </a:rPr>
              <a:t>Do it yourself cluster</a:t>
            </a:r>
          </a:p>
          <a:p>
            <a:pPr lvl="1">
              <a:spcAft>
                <a:spcPts val="600"/>
              </a:spcAft>
            </a:pPr>
            <a:r>
              <a:rPr lang="en-US" dirty="0" smtClean="0"/>
              <a:t>Power user</a:t>
            </a:r>
          </a:p>
          <a:p>
            <a:pPr lvl="1"/>
            <a:r>
              <a:rPr lang="en-US" dirty="0" smtClean="0"/>
              <a:t>In house developer</a:t>
            </a:r>
          </a:p>
          <a:p>
            <a:pPr lvl="1"/>
            <a:endParaRPr lang="en-US" dirty="0" smtClean="0"/>
          </a:p>
          <a:p>
            <a:r>
              <a:rPr lang="en-US" dirty="0">
                <a:solidFill>
                  <a:schemeClr val="accent3">
                    <a:alpha val="99000"/>
                  </a:schemeClr>
                </a:solidFill>
              </a:rPr>
              <a:t>Packaged software</a:t>
            </a:r>
          </a:p>
          <a:p>
            <a:pPr lvl="1"/>
            <a:r>
              <a:rPr lang="en-US" dirty="0" smtClean="0"/>
              <a:t>Leverage additional compute resource </a:t>
            </a:r>
            <a:br>
              <a:rPr lang="en-US" dirty="0" smtClean="0"/>
            </a:br>
            <a:r>
              <a:rPr lang="en-US" dirty="0" smtClean="0"/>
              <a:t>in Windows Azure</a:t>
            </a:r>
          </a:p>
          <a:p>
            <a:pPr lvl="1"/>
            <a:endParaRPr lang="en-US" dirty="0" smtClean="0"/>
          </a:p>
          <a:p>
            <a:r>
              <a:rPr lang="en-US" dirty="0">
                <a:solidFill>
                  <a:schemeClr val="accent3">
                    <a:alpha val="99000"/>
                  </a:schemeClr>
                </a:solidFill>
              </a:rPr>
              <a:t>Software as a Service</a:t>
            </a:r>
          </a:p>
          <a:p>
            <a:pPr lvl="1">
              <a:spcAft>
                <a:spcPts val="600"/>
              </a:spcAft>
            </a:pPr>
            <a:r>
              <a:rPr lang="en-US" dirty="0" smtClean="0"/>
              <a:t>Vendor pays for the compute resources</a:t>
            </a:r>
          </a:p>
          <a:p>
            <a:pPr lvl="1"/>
            <a:r>
              <a:rPr lang="en-US" dirty="0" smtClean="0"/>
              <a:t>Vendor bills end user directly</a:t>
            </a:r>
            <a:endParaRPr lang="en-US" dirty="0"/>
          </a:p>
        </p:txBody>
      </p:sp>
      <p:grpSp>
        <p:nvGrpSpPr>
          <p:cNvPr id="4" name="Group 3"/>
          <p:cNvGrpSpPr/>
          <p:nvPr/>
        </p:nvGrpSpPr>
        <p:grpSpPr>
          <a:xfrm>
            <a:off x="3739168" y="2814320"/>
            <a:ext cx="1027012" cy="2608830"/>
            <a:chOff x="7558088" y="1685925"/>
            <a:chExt cx="1322387" cy="3359150"/>
          </a:xfrm>
          <a:solidFill>
            <a:schemeClr val="bg1"/>
          </a:solidFill>
        </p:grpSpPr>
        <p:sp>
          <p:nvSpPr>
            <p:cNvPr id="5"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5"/>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759256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Content Placeholder 2"/>
          <p:cNvSpPr>
            <a:spLocks noGrp="1"/>
          </p:cNvSpPr>
          <p:nvPr>
            <p:ph sz="quarter" idx="10"/>
          </p:nvPr>
        </p:nvSpPr>
        <p:spPr>
          <a:xfrm>
            <a:off x="4659550" y="2485653"/>
            <a:ext cx="7016514" cy="1231106"/>
          </a:xfrm>
        </p:spPr>
        <p:txBody>
          <a:bodyPr/>
          <a:lstStyle/>
          <a:p>
            <a:r>
              <a:rPr lang="en-US" sz="2000" dirty="0" smtClean="0">
                <a:hlinkClick r:id="rId3"/>
              </a:rPr>
              <a:t>http://msdn.microsoft.com/library/hh560247(VS.85).aspx</a:t>
            </a:r>
            <a:endParaRPr lang="en-US" sz="2000" dirty="0" smtClean="0"/>
          </a:p>
          <a:p>
            <a:r>
              <a:rPr lang="en-US" sz="2000" dirty="0" smtClean="0">
                <a:hlinkClick r:id="rId4"/>
              </a:rPr>
              <a:t>http://blogs.msdn.com/b/hpctrekker/</a:t>
            </a:r>
            <a:r>
              <a:rPr lang="en-US" sz="2000" dirty="0" smtClean="0"/>
              <a:t> </a:t>
            </a:r>
          </a:p>
          <a:p>
            <a:r>
              <a:rPr lang="en-US" sz="2000" dirty="0" smtClean="0">
                <a:hlinkClick r:id="rId5"/>
              </a:rPr>
              <a:t>http://msdn.microsoft.com/en-us/WAZPlatformTrainingCourse</a:t>
            </a:r>
            <a:r>
              <a:rPr lang="en-US" sz="2000" dirty="0" smtClean="0"/>
              <a:t> </a:t>
            </a:r>
            <a:endParaRPr lang="en-US" sz="2000" dirty="0"/>
          </a:p>
        </p:txBody>
      </p:sp>
      <p:grpSp>
        <p:nvGrpSpPr>
          <p:cNvPr id="9" name="Group 8"/>
          <p:cNvGrpSpPr/>
          <p:nvPr/>
        </p:nvGrpSpPr>
        <p:grpSpPr>
          <a:xfrm>
            <a:off x="517525" y="1695450"/>
            <a:ext cx="3843850" cy="3095203"/>
            <a:chOff x="517525" y="1420812"/>
            <a:chExt cx="3843850" cy="3095203"/>
          </a:xfrm>
          <a:solidFill>
            <a:schemeClr val="accent3"/>
          </a:solidFill>
        </p:grpSpPr>
        <p:sp>
          <p:nvSpPr>
            <p:cNvPr id="11" name="Freeform 6"/>
            <p:cNvSpPr>
              <a:spLocks noEditPoints="1"/>
            </p:cNvSpPr>
            <p:nvPr/>
          </p:nvSpPr>
          <p:spPr bwMode="auto">
            <a:xfrm>
              <a:off x="517525" y="1420812"/>
              <a:ext cx="3843850" cy="3095203"/>
            </a:xfrm>
            <a:custGeom>
              <a:avLst/>
              <a:gdLst>
                <a:gd name="T0" fmla="*/ 1161 w 1213"/>
                <a:gd name="T1" fmla="*/ 0 h 977"/>
                <a:gd name="T2" fmla="*/ 66 w 1213"/>
                <a:gd name="T3" fmla="*/ 0 h 977"/>
                <a:gd name="T4" fmla="*/ 0 w 1213"/>
                <a:gd name="T5" fmla="*/ 52 h 977"/>
                <a:gd name="T6" fmla="*/ 0 w 1213"/>
                <a:gd name="T7" fmla="*/ 925 h 977"/>
                <a:gd name="T8" fmla="*/ 66 w 1213"/>
                <a:gd name="T9" fmla="*/ 977 h 977"/>
                <a:gd name="T10" fmla="*/ 1161 w 1213"/>
                <a:gd name="T11" fmla="*/ 977 h 977"/>
                <a:gd name="T12" fmla="*/ 1213 w 1213"/>
                <a:gd name="T13" fmla="*/ 925 h 977"/>
                <a:gd name="T14" fmla="*/ 1213 w 1213"/>
                <a:gd name="T15" fmla="*/ 52 h 977"/>
                <a:gd name="T16" fmla="*/ 1161 w 1213"/>
                <a:gd name="T17" fmla="*/ 0 h 977"/>
                <a:gd name="T18" fmla="*/ 835 w 1213"/>
                <a:gd name="T19" fmla="*/ 52 h 977"/>
                <a:gd name="T20" fmla="*/ 848 w 1213"/>
                <a:gd name="T21" fmla="*/ 39 h 977"/>
                <a:gd name="T22" fmla="*/ 965 w 1213"/>
                <a:gd name="T23" fmla="*/ 39 h 977"/>
                <a:gd name="T24" fmla="*/ 978 w 1213"/>
                <a:gd name="T25" fmla="*/ 52 h 977"/>
                <a:gd name="T26" fmla="*/ 978 w 1213"/>
                <a:gd name="T27" fmla="*/ 104 h 977"/>
                <a:gd name="T28" fmla="*/ 965 w 1213"/>
                <a:gd name="T29" fmla="*/ 117 h 977"/>
                <a:gd name="T30" fmla="*/ 848 w 1213"/>
                <a:gd name="T31" fmla="*/ 117 h 977"/>
                <a:gd name="T32" fmla="*/ 835 w 1213"/>
                <a:gd name="T33" fmla="*/ 104 h 977"/>
                <a:gd name="T34" fmla="*/ 835 w 1213"/>
                <a:gd name="T35" fmla="*/ 52 h 977"/>
                <a:gd name="T36" fmla="*/ 1122 w 1213"/>
                <a:gd name="T37" fmla="*/ 886 h 977"/>
                <a:gd name="T38" fmla="*/ 1109 w 1213"/>
                <a:gd name="T39" fmla="*/ 899 h 977"/>
                <a:gd name="T40" fmla="*/ 79 w 1213"/>
                <a:gd name="T41" fmla="*/ 899 h 977"/>
                <a:gd name="T42" fmla="*/ 79 w 1213"/>
                <a:gd name="T43" fmla="*/ 886 h 977"/>
                <a:gd name="T44" fmla="*/ 79 w 1213"/>
                <a:gd name="T45" fmla="*/ 208 h 977"/>
                <a:gd name="T46" fmla="*/ 1122 w 1213"/>
                <a:gd name="T47" fmla="*/ 208 h 977"/>
                <a:gd name="T48" fmla="*/ 1122 w 1213"/>
                <a:gd name="T49" fmla="*/ 886 h 977"/>
                <a:gd name="T50" fmla="*/ 1139 w 1213"/>
                <a:gd name="T51" fmla="*/ 104 h 977"/>
                <a:gd name="T52" fmla="*/ 1126 w 1213"/>
                <a:gd name="T53" fmla="*/ 117 h 977"/>
                <a:gd name="T54" fmla="*/ 1009 w 1213"/>
                <a:gd name="T55" fmla="*/ 117 h 977"/>
                <a:gd name="T56" fmla="*/ 996 w 1213"/>
                <a:gd name="T57" fmla="*/ 104 h 977"/>
                <a:gd name="T58" fmla="*/ 996 w 1213"/>
                <a:gd name="T59" fmla="*/ 52 h 977"/>
                <a:gd name="T60" fmla="*/ 1009 w 1213"/>
                <a:gd name="T61" fmla="*/ 39 h 977"/>
                <a:gd name="T62" fmla="*/ 1126 w 1213"/>
                <a:gd name="T63" fmla="*/ 39 h 977"/>
                <a:gd name="T64" fmla="*/ 1139 w 1213"/>
                <a:gd name="T65" fmla="*/ 52 h 977"/>
                <a:gd name="T66" fmla="*/ 1139 w 1213"/>
                <a:gd name="T67" fmla="*/ 104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13" h="977">
                  <a:moveTo>
                    <a:pt x="1161" y="0"/>
                  </a:moveTo>
                  <a:cubicBezTo>
                    <a:pt x="1161" y="0"/>
                    <a:pt x="1161" y="0"/>
                    <a:pt x="66" y="0"/>
                  </a:cubicBezTo>
                  <a:cubicBezTo>
                    <a:pt x="39" y="0"/>
                    <a:pt x="0" y="13"/>
                    <a:pt x="0" y="52"/>
                  </a:cubicBezTo>
                  <a:cubicBezTo>
                    <a:pt x="0" y="52"/>
                    <a:pt x="0" y="52"/>
                    <a:pt x="0" y="925"/>
                  </a:cubicBezTo>
                  <a:cubicBezTo>
                    <a:pt x="0" y="964"/>
                    <a:pt x="39" y="977"/>
                    <a:pt x="66" y="977"/>
                  </a:cubicBezTo>
                  <a:cubicBezTo>
                    <a:pt x="66" y="977"/>
                    <a:pt x="66" y="977"/>
                    <a:pt x="1161" y="977"/>
                  </a:cubicBezTo>
                  <a:cubicBezTo>
                    <a:pt x="1187" y="977"/>
                    <a:pt x="1213" y="964"/>
                    <a:pt x="1213" y="925"/>
                  </a:cubicBezTo>
                  <a:cubicBezTo>
                    <a:pt x="1213" y="925"/>
                    <a:pt x="1213" y="925"/>
                    <a:pt x="1213" y="52"/>
                  </a:cubicBezTo>
                  <a:cubicBezTo>
                    <a:pt x="1213" y="13"/>
                    <a:pt x="1187" y="0"/>
                    <a:pt x="1161" y="0"/>
                  </a:cubicBezTo>
                  <a:close/>
                  <a:moveTo>
                    <a:pt x="835" y="52"/>
                  </a:moveTo>
                  <a:cubicBezTo>
                    <a:pt x="835" y="52"/>
                    <a:pt x="835" y="39"/>
                    <a:pt x="848" y="39"/>
                  </a:cubicBezTo>
                  <a:cubicBezTo>
                    <a:pt x="965" y="39"/>
                    <a:pt x="965" y="39"/>
                    <a:pt x="965" y="39"/>
                  </a:cubicBezTo>
                  <a:cubicBezTo>
                    <a:pt x="978" y="39"/>
                    <a:pt x="978" y="52"/>
                    <a:pt x="978" y="52"/>
                  </a:cubicBezTo>
                  <a:cubicBezTo>
                    <a:pt x="978" y="104"/>
                    <a:pt x="978" y="104"/>
                    <a:pt x="978" y="104"/>
                  </a:cubicBezTo>
                  <a:cubicBezTo>
                    <a:pt x="978" y="104"/>
                    <a:pt x="978" y="117"/>
                    <a:pt x="965" y="117"/>
                  </a:cubicBezTo>
                  <a:cubicBezTo>
                    <a:pt x="848" y="117"/>
                    <a:pt x="848" y="117"/>
                    <a:pt x="848" y="117"/>
                  </a:cubicBezTo>
                  <a:cubicBezTo>
                    <a:pt x="835" y="117"/>
                    <a:pt x="835" y="104"/>
                    <a:pt x="835" y="104"/>
                  </a:cubicBezTo>
                  <a:lnTo>
                    <a:pt x="835" y="52"/>
                  </a:lnTo>
                  <a:close/>
                  <a:moveTo>
                    <a:pt x="1122" y="886"/>
                  </a:moveTo>
                  <a:cubicBezTo>
                    <a:pt x="1122" y="899"/>
                    <a:pt x="1122" y="899"/>
                    <a:pt x="1109" y="899"/>
                  </a:cubicBezTo>
                  <a:cubicBezTo>
                    <a:pt x="1109" y="899"/>
                    <a:pt x="1005" y="899"/>
                    <a:pt x="79" y="899"/>
                  </a:cubicBezTo>
                  <a:cubicBezTo>
                    <a:pt x="79" y="899"/>
                    <a:pt x="79" y="899"/>
                    <a:pt x="79" y="886"/>
                  </a:cubicBezTo>
                  <a:cubicBezTo>
                    <a:pt x="79" y="886"/>
                    <a:pt x="79" y="768"/>
                    <a:pt x="79" y="208"/>
                  </a:cubicBezTo>
                  <a:cubicBezTo>
                    <a:pt x="79" y="208"/>
                    <a:pt x="183" y="208"/>
                    <a:pt x="1122" y="208"/>
                  </a:cubicBezTo>
                  <a:lnTo>
                    <a:pt x="1122" y="886"/>
                  </a:lnTo>
                  <a:close/>
                  <a:moveTo>
                    <a:pt x="1139" y="104"/>
                  </a:moveTo>
                  <a:cubicBezTo>
                    <a:pt x="1139" y="104"/>
                    <a:pt x="1139" y="117"/>
                    <a:pt x="1126" y="117"/>
                  </a:cubicBezTo>
                  <a:cubicBezTo>
                    <a:pt x="1009" y="117"/>
                    <a:pt x="1009" y="117"/>
                    <a:pt x="1009" y="117"/>
                  </a:cubicBezTo>
                  <a:cubicBezTo>
                    <a:pt x="996" y="117"/>
                    <a:pt x="996" y="104"/>
                    <a:pt x="996" y="104"/>
                  </a:cubicBezTo>
                  <a:cubicBezTo>
                    <a:pt x="996" y="52"/>
                    <a:pt x="996" y="52"/>
                    <a:pt x="996" y="52"/>
                  </a:cubicBezTo>
                  <a:cubicBezTo>
                    <a:pt x="996" y="52"/>
                    <a:pt x="996" y="39"/>
                    <a:pt x="1009" y="39"/>
                  </a:cubicBezTo>
                  <a:cubicBezTo>
                    <a:pt x="1126" y="39"/>
                    <a:pt x="1126" y="39"/>
                    <a:pt x="1126" y="39"/>
                  </a:cubicBezTo>
                  <a:cubicBezTo>
                    <a:pt x="1139" y="39"/>
                    <a:pt x="1139" y="52"/>
                    <a:pt x="1139" y="52"/>
                  </a:cubicBezTo>
                  <a:cubicBezTo>
                    <a:pt x="1139" y="104"/>
                    <a:pt x="1139" y="104"/>
                    <a:pt x="113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2"/>
            <p:cNvSpPr>
              <a:spLocks noEditPoints="1"/>
            </p:cNvSpPr>
            <p:nvPr/>
          </p:nvSpPr>
          <p:spPr bwMode="black">
            <a:xfrm>
              <a:off x="1629270" y="2349825"/>
              <a:ext cx="1628041" cy="162762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spTree>
    <p:extLst>
      <p:ext uri="{BB962C8B-B14F-4D97-AF65-F5344CB8AC3E}">
        <p14:creationId xmlns:p14="http://schemas.microsoft.com/office/powerpoint/2010/main" val="10358873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08334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7525" y="856768"/>
            <a:ext cx="3583135" cy="1495794"/>
          </a:xfrm>
        </p:spPr>
        <p:txBody>
          <a:bodyPr/>
          <a:lstStyle/>
          <a:p>
            <a:r>
              <a:rPr lang="en-US" dirty="0" smtClean="0">
                <a:solidFill>
                  <a:schemeClr val="bg1"/>
                </a:solidFill>
              </a:rPr>
              <a:t>What’s the </a:t>
            </a:r>
            <a:br>
              <a:rPr lang="en-US" dirty="0" smtClean="0">
                <a:solidFill>
                  <a:schemeClr val="bg1"/>
                </a:solidFill>
              </a:rPr>
            </a:br>
            <a:r>
              <a:rPr lang="en-US" dirty="0" smtClean="0">
                <a:solidFill>
                  <a:schemeClr val="accent6">
                    <a:lumMod val="75000"/>
                  </a:schemeClr>
                </a:solidFill>
              </a:rPr>
              <a:t>Problem?</a:t>
            </a:r>
            <a:endParaRPr lang="en-US" dirty="0">
              <a:solidFill>
                <a:schemeClr val="accent6">
                  <a:lumMod val="75000"/>
                </a:schemeClr>
              </a:solidFill>
            </a:endParaRPr>
          </a:p>
        </p:txBody>
      </p:sp>
      <p:sp>
        <p:nvSpPr>
          <p:cNvPr id="3" name="Text Placeholder 2"/>
          <p:cNvSpPr>
            <a:spLocks noGrp="1"/>
          </p:cNvSpPr>
          <p:nvPr>
            <p:ph type="body" sz="quarter" idx="10"/>
          </p:nvPr>
        </p:nvSpPr>
        <p:spPr>
          <a:xfrm>
            <a:off x="6702457" y="1046127"/>
            <a:ext cx="4973605" cy="4416594"/>
          </a:xfrm>
        </p:spPr>
        <p:txBody>
          <a:bodyPr/>
          <a:lstStyle/>
          <a:p>
            <a:r>
              <a:rPr lang="en-US" sz="2800" smtClean="0">
                <a:solidFill>
                  <a:schemeClr val="accent6">
                    <a:lumMod val="75000"/>
                  </a:schemeClr>
                </a:solidFill>
              </a:rPr>
              <a:t>Some apps run too slowly on </a:t>
            </a:r>
            <a:br>
              <a:rPr lang="en-US" sz="2800" smtClean="0">
                <a:solidFill>
                  <a:schemeClr val="accent6">
                    <a:lumMod val="75000"/>
                  </a:schemeClr>
                </a:solidFill>
              </a:rPr>
            </a:br>
            <a:r>
              <a:rPr lang="en-US" sz="2800" smtClean="0">
                <a:solidFill>
                  <a:schemeClr val="accent6">
                    <a:lumMod val="75000"/>
                  </a:schemeClr>
                </a:solidFill>
              </a:rPr>
              <a:t>a single computer</a:t>
            </a:r>
          </a:p>
          <a:p>
            <a:pPr lvl="1"/>
            <a:r>
              <a:rPr lang="en-US" smtClean="0">
                <a:solidFill>
                  <a:schemeClr val="bg1"/>
                </a:solidFill>
              </a:rPr>
              <a:t>Splitting them up into chunks, then running those chunks in parallel on multiple computers can speed them up</a:t>
            </a:r>
          </a:p>
          <a:p>
            <a:pPr lvl="1"/>
            <a:endParaRPr lang="en-US" smtClean="0">
              <a:solidFill>
                <a:schemeClr val="bg1"/>
              </a:solidFill>
            </a:endParaRPr>
          </a:p>
          <a:p>
            <a:pPr lvl="1"/>
            <a:endParaRPr lang="en-US" smtClean="0">
              <a:solidFill>
                <a:schemeClr val="bg1"/>
              </a:solidFill>
            </a:endParaRPr>
          </a:p>
          <a:p>
            <a:pPr lvl="1"/>
            <a:endParaRPr lang="en-US" smtClean="0">
              <a:solidFill>
                <a:schemeClr val="bg1"/>
              </a:solidFill>
            </a:endParaRPr>
          </a:p>
          <a:p>
            <a:r>
              <a:rPr lang="en-US" sz="2800" smtClean="0">
                <a:solidFill>
                  <a:schemeClr val="accent6">
                    <a:lumMod val="75000"/>
                  </a:schemeClr>
                </a:solidFill>
              </a:rPr>
              <a:t>Doing this effectively requires creating a compute cluster, with:</a:t>
            </a:r>
          </a:p>
          <a:p>
            <a:pPr lvl="1"/>
            <a:r>
              <a:rPr lang="en-US" smtClean="0">
                <a:solidFill>
                  <a:schemeClr val="bg1"/>
                </a:solidFill>
              </a:rPr>
              <a:t>Tools to create and manage the cluster</a:t>
            </a:r>
          </a:p>
          <a:p>
            <a:pPr lvl="1"/>
            <a:r>
              <a:rPr lang="en-US" smtClean="0">
                <a:solidFill>
                  <a:schemeClr val="bg1"/>
                </a:solidFill>
              </a:rPr>
              <a:t>A scheduler for running apps on the cluster</a:t>
            </a:r>
            <a:endParaRPr lang="en-US" dirty="0">
              <a:solidFill>
                <a:schemeClr val="bg1"/>
              </a:solidFill>
            </a:endParaRPr>
          </a:p>
        </p:txBody>
      </p:sp>
      <p:grpSp>
        <p:nvGrpSpPr>
          <p:cNvPr id="4" name="Group 3"/>
          <p:cNvGrpSpPr/>
          <p:nvPr/>
        </p:nvGrpSpPr>
        <p:grpSpPr>
          <a:xfrm>
            <a:off x="5391330" y="1156335"/>
            <a:ext cx="895245" cy="539115"/>
            <a:chOff x="8784979" y="1508673"/>
            <a:chExt cx="895245" cy="539115"/>
          </a:xfrm>
          <a:solidFill>
            <a:schemeClr val="bg1"/>
          </a:solidFill>
        </p:grpSpPr>
        <p:sp>
          <p:nvSpPr>
            <p:cNvPr id="9" name="Rectangle 8"/>
            <p:cNvSpPr/>
            <p:nvPr/>
          </p:nvSpPr>
          <p:spPr bwMode="black">
            <a:xfrm>
              <a:off x="8798510" y="1515009"/>
              <a:ext cx="603293" cy="444521"/>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grpSp>
          <p:nvGrpSpPr>
            <p:cNvPr id="10" name="Group 9"/>
            <p:cNvGrpSpPr/>
            <p:nvPr/>
          </p:nvGrpSpPr>
          <p:grpSpPr bwMode="black">
            <a:xfrm>
              <a:off x="8784979" y="1508673"/>
              <a:ext cx="895245" cy="539115"/>
              <a:chOff x="863600" y="2393157"/>
              <a:chExt cx="876300" cy="527844"/>
            </a:xfrm>
            <a:grpFill/>
          </p:grpSpPr>
          <p:sp>
            <p:nvSpPr>
              <p:cNvPr id="11" name="Freeform 1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1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cxnSp>
        <p:nvCxnSpPr>
          <p:cNvPr id="14" name="Straight Connector 13"/>
          <p:cNvCxnSpPr/>
          <p:nvPr/>
        </p:nvCxnSpPr>
        <p:spPr>
          <a:xfrm>
            <a:off x="4977353" y="3393245"/>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Freeform 73"/>
          <p:cNvSpPr>
            <a:spLocks noEditPoints="1"/>
          </p:cNvSpPr>
          <p:nvPr/>
        </p:nvSpPr>
        <p:spPr bwMode="black">
          <a:xfrm>
            <a:off x="5452923" y="3794047"/>
            <a:ext cx="872464" cy="84224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06293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500"/>
                            </p:stCondLst>
                            <p:childTnLst>
                              <p:par>
                                <p:cTn id="15" presetID="10" presetClass="entr" presetSubtype="0" fill="hold" nodeType="afterEffect">
                                  <p:stCondLst>
                                    <p:cond delay="75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par>
                                <p:cTn id="18" presetID="10" presetClass="entr" presetSubtype="0" fill="hold" nodeType="withEffect">
                                  <p:stCondLst>
                                    <p:cond delay="750"/>
                                  </p:stCondLst>
                                  <p:childTnLst>
                                    <p:set>
                                      <p:cBhvr>
                                        <p:cTn id="19" dur="1" fill="hold">
                                          <p:stCondLst>
                                            <p:cond delay="0"/>
                                          </p:stCondLst>
                                        </p:cTn>
                                        <p:tgtEl>
                                          <p:spTgt spid="3">
                                            <p:txEl>
                                              <p:pRg st="6" end="6"/>
                                            </p:txEl>
                                          </p:spTgt>
                                        </p:tgtEl>
                                        <p:attrNameLst>
                                          <p:attrName>style.visibility</p:attrName>
                                        </p:attrNameLst>
                                      </p:cBhvr>
                                      <p:to>
                                        <p:strVal val="visible"/>
                                      </p:to>
                                    </p:set>
                                    <p:animEffect transition="in" filter="fade">
                                      <p:cBhvr>
                                        <p:cTn id="20" dur="500"/>
                                        <p:tgtEl>
                                          <p:spTgt spid="3">
                                            <p:txEl>
                                              <p:pRg st="6" end="6"/>
                                            </p:txEl>
                                          </p:spTgt>
                                        </p:tgtEl>
                                      </p:cBhvr>
                                    </p:animEffect>
                                  </p:childTnLst>
                                </p:cTn>
                              </p:par>
                              <p:par>
                                <p:cTn id="21" presetID="10" presetClass="entr" presetSubtype="0" fill="hold" nodeType="withEffect">
                                  <p:stCondLst>
                                    <p:cond delay="750"/>
                                  </p:stCondLst>
                                  <p:childTnLst>
                                    <p:set>
                                      <p:cBhvr>
                                        <p:cTn id="22" dur="1" fill="hold">
                                          <p:stCondLst>
                                            <p:cond delay="0"/>
                                          </p:stCondLst>
                                        </p:cTn>
                                        <p:tgtEl>
                                          <p:spTgt spid="3">
                                            <p:txEl>
                                              <p:pRg st="7" end="7"/>
                                            </p:txEl>
                                          </p:spTgt>
                                        </p:tgtEl>
                                        <p:attrNameLst>
                                          <p:attrName>style.visibility</p:attrName>
                                        </p:attrNameLst>
                                      </p:cBhvr>
                                      <p:to>
                                        <p:strVal val="visible"/>
                                      </p:to>
                                    </p:set>
                                    <p:animEffect transition="in" filter="fade">
                                      <p:cBhvr>
                                        <p:cTn id="23" dur="500"/>
                                        <p:tgtEl>
                                          <p:spTgt spid="3">
                                            <p:txEl>
                                              <p:pRg st="7" end="7"/>
                                            </p:txEl>
                                          </p:spTgt>
                                        </p:tgtEl>
                                      </p:cBhvr>
                                    </p:animEffect>
                                  </p:childTnLst>
                                </p:cTn>
                              </p:par>
                              <p:par>
                                <p:cTn id="24" presetID="10" presetClass="entr" presetSubtype="0" fill="hold" nodeType="withEffect">
                                  <p:stCondLst>
                                    <p:cond delay="75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10" presetClass="entr" presetSubtype="0" fill="hold" grpId="0" nodeType="withEffect">
                                  <p:stCondLst>
                                    <p:cond delay="75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CFCFC">
            <a:alpha val="99000"/>
          </a:srgbClr>
        </a:solidFill>
        <a:effectLst/>
      </p:bgPr>
    </p:bg>
    <p:spTree>
      <p:nvGrpSpPr>
        <p:cNvPr id="1" name=""/>
        <p:cNvGrpSpPr/>
        <p:nvPr/>
      </p:nvGrpSpPr>
      <p:grpSpPr>
        <a:xfrm>
          <a:off x="0" y="0"/>
          <a:ext cx="0" cy="0"/>
          <a:chOff x="0" y="0"/>
          <a:chExt cx="0" cy="0"/>
        </a:xfrm>
      </p:grpSpPr>
      <p:sp>
        <p:nvSpPr>
          <p:cNvPr id="18" name="Rectangle 17"/>
          <p:cNvSpPr/>
          <p:nvPr/>
        </p:nvSpPr>
        <p:spPr bwMode="auto">
          <a:xfrm>
            <a:off x="517525" y="1141413"/>
            <a:ext cx="11158538" cy="13959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914099" fontAlgn="base">
              <a:spcBef>
                <a:spcPct val="0"/>
              </a:spcBef>
              <a:spcAft>
                <a:spcPct val="0"/>
              </a:spcAft>
            </a:pPr>
            <a:endParaRPr lang="en-US" sz="4800" spc="-100" dirty="0">
              <a:ln w="3175">
                <a:noFill/>
              </a:ln>
              <a:gradFill flip="none" rotWithShape="1">
                <a:gsLst>
                  <a:gs pos="0">
                    <a:srgbClr val="595959"/>
                  </a:gs>
                  <a:gs pos="86000">
                    <a:srgbClr val="595959"/>
                  </a:gs>
                </a:gsLst>
                <a:lin ang="5400000" scaled="0"/>
                <a:tileRect/>
              </a:gradFill>
              <a:latin typeface="Segoe UI Light" pitchFamily="34" charset="0"/>
              <a:cs typeface="Segoe UI" pitchFamily="34" charset="0"/>
            </a:endParaRPr>
          </a:p>
        </p:txBody>
      </p:sp>
      <p:grpSp>
        <p:nvGrpSpPr>
          <p:cNvPr id="57" name="Group 56"/>
          <p:cNvGrpSpPr/>
          <p:nvPr/>
        </p:nvGrpSpPr>
        <p:grpSpPr>
          <a:xfrm>
            <a:off x="517524" y="2712432"/>
            <a:ext cx="8592919" cy="2986054"/>
            <a:chOff x="517525" y="3227556"/>
            <a:chExt cx="5486400" cy="2986054"/>
          </a:xfrm>
        </p:grpSpPr>
        <p:grpSp>
          <p:nvGrpSpPr>
            <p:cNvPr id="19" name="Group 18"/>
            <p:cNvGrpSpPr/>
            <p:nvPr/>
          </p:nvGrpSpPr>
          <p:grpSpPr>
            <a:xfrm>
              <a:off x="517525" y="3227556"/>
              <a:ext cx="5486400" cy="2986054"/>
              <a:chOff x="4056434" y="3278221"/>
              <a:chExt cx="5486400" cy="2986054"/>
            </a:xfrm>
          </p:grpSpPr>
          <p:sp>
            <p:nvSpPr>
              <p:cNvPr id="17" name="Rectangle 16"/>
              <p:cNvSpPr/>
              <p:nvPr/>
            </p:nvSpPr>
            <p:spPr bwMode="auto">
              <a:xfrm>
                <a:off x="4056434" y="3278221"/>
                <a:ext cx="5486400" cy="29860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p:custDataLst>
                  <p:tags r:id="rId1"/>
                </p:custDataLst>
              </p:nvPr>
            </p:nvSpPr>
            <p:spPr bwMode="auto">
              <a:xfrm>
                <a:off x="5727632" y="3380101"/>
                <a:ext cx="3743471" cy="27577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ctr" anchorCtr="0" compatLnSpc="1">
                <a:prstTxWarp prst="textNoShape">
                  <a:avLst/>
                </a:prstTxWarp>
              </a:bodyPr>
              <a:lstStyle/>
              <a:p>
                <a:pPr defTabSz="913788" fontAlgn="base">
                  <a:spcBef>
                    <a:spcPts val="1200"/>
                  </a:spcBef>
                  <a:spcAft>
                    <a:spcPct val="0"/>
                  </a:spcAft>
                </a:pPr>
                <a:r>
                  <a:rPr lang="en-US" dirty="0" smtClean="0">
                    <a:ln>
                      <a:solidFill>
                        <a:schemeClr val="bg1">
                          <a:alpha val="0"/>
                        </a:schemeClr>
                      </a:solidFill>
                    </a:ln>
                    <a:solidFill>
                      <a:srgbClr val="595959"/>
                    </a:solidFill>
                    <a:latin typeface="Segoe UI Light" pitchFamily="34" charset="0"/>
                  </a:rPr>
                  <a:t>Solve </a:t>
                </a:r>
                <a:r>
                  <a:rPr lang="en-US" dirty="0">
                    <a:ln>
                      <a:solidFill>
                        <a:schemeClr val="bg1">
                          <a:alpha val="0"/>
                        </a:schemeClr>
                      </a:solidFill>
                    </a:ln>
                    <a:solidFill>
                      <a:srgbClr val="595959"/>
                    </a:solidFill>
                    <a:latin typeface="Segoe UI Light" pitchFamily="34" charset="0"/>
                  </a:rPr>
                  <a:t>large computational problems</a:t>
                </a:r>
              </a:p>
              <a:p>
                <a:pPr defTabSz="913788" fontAlgn="base">
                  <a:spcBef>
                    <a:spcPts val="1200"/>
                  </a:spcBef>
                  <a:spcAft>
                    <a:spcPct val="0"/>
                  </a:spcAft>
                </a:pPr>
                <a:r>
                  <a:rPr lang="en-US" dirty="0">
                    <a:ln>
                      <a:solidFill>
                        <a:schemeClr val="bg1">
                          <a:alpha val="0"/>
                        </a:schemeClr>
                      </a:solidFill>
                    </a:ln>
                    <a:solidFill>
                      <a:srgbClr val="595959"/>
                    </a:solidFill>
                    <a:latin typeface="Segoe UI Light" pitchFamily="34" charset="0"/>
                  </a:rPr>
                  <a:t>HPC is best described as massively parallel</a:t>
                </a:r>
              </a:p>
              <a:p>
                <a:pPr defTabSz="913788" fontAlgn="base">
                  <a:spcBef>
                    <a:spcPts val="1200"/>
                  </a:spcBef>
                  <a:spcAft>
                    <a:spcPct val="0"/>
                  </a:spcAft>
                </a:pPr>
                <a:r>
                  <a:rPr lang="en-US" dirty="0">
                    <a:ln>
                      <a:solidFill>
                        <a:schemeClr val="bg1">
                          <a:alpha val="0"/>
                        </a:schemeClr>
                      </a:solidFill>
                    </a:ln>
                    <a:solidFill>
                      <a:srgbClr val="595959"/>
                    </a:solidFill>
                    <a:latin typeface="Segoe UI Light" pitchFamily="34" charset="0"/>
                  </a:rPr>
                  <a:t>Becoming </a:t>
                </a:r>
                <a:r>
                  <a:rPr lang="en-US" dirty="0" smtClean="0">
                    <a:ln>
                      <a:solidFill>
                        <a:schemeClr val="bg1">
                          <a:alpha val="0"/>
                        </a:schemeClr>
                      </a:solidFill>
                    </a:ln>
                    <a:solidFill>
                      <a:srgbClr val="595959"/>
                    </a:solidFill>
                    <a:latin typeface="Segoe UI Light" pitchFamily="34" charset="0"/>
                  </a:rPr>
                  <a:t>a critical </a:t>
                </a:r>
                <a:r>
                  <a:rPr lang="en-US" dirty="0">
                    <a:ln>
                      <a:solidFill>
                        <a:schemeClr val="bg1">
                          <a:alpha val="0"/>
                        </a:schemeClr>
                      </a:solidFill>
                    </a:ln>
                    <a:solidFill>
                      <a:srgbClr val="595959"/>
                    </a:solidFill>
                    <a:latin typeface="Segoe UI Light" pitchFamily="34" charset="0"/>
                  </a:rPr>
                  <a:t>part </a:t>
                </a:r>
                <a:r>
                  <a:rPr lang="en-US" dirty="0" smtClean="0">
                    <a:ln>
                      <a:solidFill>
                        <a:schemeClr val="bg1">
                          <a:alpha val="0"/>
                        </a:schemeClr>
                      </a:solidFill>
                    </a:ln>
                    <a:solidFill>
                      <a:srgbClr val="595959"/>
                    </a:solidFill>
                    <a:latin typeface="Segoe UI Light" pitchFamily="34" charset="0"/>
                  </a:rPr>
                  <a:t>of businesses</a:t>
                </a:r>
                <a:endParaRPr lang="en-US" dirty="0">
                  <a:ln>
                    <a:solidFill>
                      <a:schemeClr val="bg1">
                        <a:alpha val="0"/>
                      </a:schemeClr>
                    </a:solidFill>
                  </a:ln>
                  <a:solidFill>
                    <a:srgbClr val="595959"/>
                  </a:solidFill>
                  <a:latin typeface="Segoe UI Light" pitchFamily="34" charset="0"/>
                </a:endParaRPr>
              </a:p>
            </p:txBody>
          </p:sp>
        </p:grpSp>
        <p:sp>
          <p:nvSpPr>
            <p:cNvPr id="56" name="Freeform 111"/>
            <p:cNvSpPr>
              <a:spLocks noEditPoints="1"/>
            </p:cNvSpPr>
            <p:nvPr/>
          </p:nvSpPr>
          <p:spPr bwMode="black">
            <a:xfrm>
              <a:off x="948560" y="3851223"/>
              <a:ext cx="812327" cy="1796886"/>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chemeClr val="accent4"/>
            </a:solidFill>
            <a:ln w="19050">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a:xfrm>
            <a:off x="519112" y="228600"/>
            <a:ext cx="11149013" cy="1329595"/>
          </a:xfrm>
        </p:spPr>
        <p:txBody>
          <a:bodyPr/>
          <a:lstStyle/>
          <a:p>
            <a:r>
              <a:rPr lang="en-US" sz="4800" dirty="0" smtClean="0"/>
              <a:t>How Does Azure Extend High Performance Computing to the Masses?</a:t>
            </a:r>
            <a:endParaRPr lang="en-US" sz="4800" dirty="0"/>
          </a:p>
        </p:txBody>
      </p:sp>
    </p:spTree>
    <p:extLst>
      <p:ext uri="{BB962C8B-B14F-4D97-AF65-F5344CB8AC3E}">
        <p14:creationId xmlns:p14="http://schemas.microsoft.com/office/powerpoint/2010/main" val="1750305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smtClean="0"/>
              <a:t>Example Workloads That Need a Cluster</a:t>
            </a:r>
            <a:endParaRPr lang="en-US" dirty="0"/>
          </a:p>
        </p:txBody>
      </p:sp>
      <p:sp>
        <p:nvSpPr>
          <p:cNvPr id="3" name="Text Placeholder 2"/>
          <p:cNvSpPr>
            <a:spLocks noGrp="1"/>
          </p:cNvSpPr>
          <p:nvPr>
            <p:ph type="body" sz="quarter" idx="10"/>
          </p:nvPr>
        </p:nvSpPr>
        <p:spPr>
          <a:xfrm>
            <a:off x="519113" y="1417319"/>
            <a:ext cx="7817491" cy="3901068"/>
          </a:xfrm>
        </p:spPr>
        <p:txBody>
          <a:bodyPr/>
          <a:lstStyle/>
          <a:p>
            <a:r>
              <a:rPr lang="en-US" sz="3600" dirty="0" smtClean="0">
                <a:solidFill>
                  <a:schemeClr val="accent4">
                    <a:alpha val="99000"/>
                  </a:schemeClr>
                </a:solidFill>
              </a:rPr>
              <a:t>Digital media rendering and encoding</a:t>
            </a:r>
          </a:p>
          <a:p>
            <a:r>
              <a:rPr lang="en-US" sz="3600" dirty="0" smtClean="0">
                <a:solidFill>
                  <a:schemeClr val="accent4">
                    <a:alpha val="99000"/>
                  </a:schemeClr>
                </a:solidFill>
              </a:rPr>
              <a:t>Financial and insurance risk calculation</a:t>
            </a:r>
          </a:p>
          <a:p>
            <a:r>
              <a:rPr lang="en-US" sz="3600" dirty="0" smtClean="0">
                <a:solidFill>
                  <a:schemeClr val="accent4">
                    <a:alpha val="99000"/>
                  </a:schemeClr>
                </a:solidFill>
              </a:rPr>
              <a:t>Engineering modeling and simulation</a:t>
            </a:r>
          </a:p>
          <a:p>
            <a:r>
              <a:rPr lang="en-US" sz="3600" dirty="0" smtClean="0">
                <a:solidFill>
                  <a:schemeClr val="accent4">
                    <a:alpha val="99000"/>
                  </a:schemeClr>
                </a:solidFill>
              </a:rPr>
              <a:t>Computational life sciences</a:t>
            </a:r>
          </a:p>
          <a:p>
            <a:r>
              <a:rPr lang="en-US" sz="3600" dirty="0" smtClean="0">
                <a:solidFill>
                  <a:schemeClr val="accent4">
                    <a:alpha val="99000"/>
                  </a:schemeClr>
                </a:solidFill>
              </a:rPr>
              <a:t>Earth sciences</a:t>
            </a:r>
          </a:p>
          <a:p>
            <a:r>
              <a:rPr lang="en-US" sz="3600" dirty="0" smtClean="0">
                <a:solidFill>
                  <a:schemeClr val="accent4">
                    <a:alpha val="99000"/>
                  </a:schemeClr>
                </a:solidFill>
              </a:rPr>
              <a:t>Data analytics</a:t>
            </a:r>
            <a:endParaRPr lang="en-US" sz="3600" dirty="0">
              <a:solidFill>
                <a:schemeClr val="accent4">
                  <a:alpha val="99000"/>
                </a:schemeClr>
              </a:solidFill>
            </a:endParaRPr>
          </a:p>
        </p:txBody>
      </p:sp>
      <p:sp>
        <p:nvSpPr>
          <p:cNvPr id="7" name="Freeform 73"/>
          <p:cNvSpPr>
            <a:spLocks noEditPoints="1"/>
          </p:cNvSpPr>
          <p:nvPr/>
        </p:nvSpPr>
        <p:spPr bwMode="black">
          <a:xfrm>
            <a:off x="8134174" y="2250653"/>
            <a:ext cx="3169552" cy="305977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27114356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4369657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7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246495"/>
          </a:xfrm>
        </p:spPr>
        <p:txBody>
          <a:bodyPr/>
          <a:lstStyle/>
          <a:p>
            <a:r>
              <a:rPr lang="en-US" dirty="0"/>
              <a:t>Embarrassingly Parallel Apps</a:t>
            </a:r>
            <a:br>
              <a:rPr lang="en-US" dirty="0"/>
            </a:br>
            <a:r>
              <a:rPr lang="en-US" sz="3600" dirty="0">
                <a:solidFill>
                  <a:schemeClr val="accent4"/>
                </a:solidFill>
              </a:rPr>
              <a:t>An illustration</a:t>
            </a:r>
          </a:p>
        </p:txBody>
      </p:sp>
      <p:sp>
        <p:nvSpPr>
          <p:cNvPr id="21" name="Right Arrow 20"/>
          <p:cNvSpPr/>
          <p:nvPr>
            <p:custDataLst>
              <p:tags r:id="rId4"/>
            </p:custDataLst>
          </p:nvPr>
        </p:nvSpPr>
        <p:spPr bwMode="auto">
          <a:xfrm>
            <a:off x="2166366" y="3021330"/>
            <a:ext cx="3017520" cy="54864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1. Submit work</a:t>
            </a:r>
          </a:p>
        </p:txBody>
      </p:sp>
      <p:sp>
        <p:nvSpPr>
          <p:cNvPr id="22" name="Right Arrow 21"/>
          <p:cNvSpPr/>
          <p:nvPr>
            <p:custDataLst>
              <p:tags r:id="rId5"/>
            </p:custDataLst>
          </p:nvPr>
        </p:nvSpPr>
        <p:spPr bwMode="auto">
          <a:xfrm flipH="1">
            <a:off x="2154938" y="4301490"/>
            <a:ext cx="3017520" cy="54864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solidFill>
                  <a:schemeClr val="bg1">
                    <a:alpha val="99000"/>
                  </a:schemeClr>
                </a:solidFill>
              </a:rPr>
              <a:t>3. </a:t>
            </a:r>
            <a:r>
              <a:rPr lang="en-US" sz="1200" dirty="0">
                <a:ln>
                  <a:solidFill>
                    <a:schemeClr val="bg1">
                      <a:alpha val="0"/>
                    </a:schemeClr>
                  </a:solidFill>
                </a:ln>
                <a:solidFill>
                  <a:schemeClr val="bg1">
                    <a:alpha val="99000"/>
                  </a:schemeClr>
                </a:solidFill>
              </a:rPr>
              <a:t>Get results</a:t>
            </a:r>
          </a:p>
        </p:txBody>
      </p:sp>
      <p:sp>
        <p:nvSpPr>
          <p:cNvPr id="23" name="Left-Right Arrow 22"/>
          <p:cNvSpPr/>
          <p:nvPr>
            <p:custDataLst>
              <p:tags r:id="rId6"/>
            </p:custDataLst>
          </p:nvPr>
        </p:nvSpPr>
        <p:spPr bwMode="auto">
          <a:xfrm flipH="1">
            <a:off x="2154938" y="3661410"/>
            <a:ext cx="3017520" cy="54864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2. (Optionally) Interact with application</a:t>
            </a:r>
          </a:p>
        </p:txBody>
      </p:sp>
      <p:grpSp>
        <p:nvGrpSpPr>
          <p:cNvPr id="14" name="Group 13"/>
          <p:cNvGrpSpPr/>
          <p:nvPr/>
        </p:nvGrpSpPr>
        <p:grpSpPr>
          <a:xfrm>
            <a:off x="5330758" y="1695450"/>
            <a:ext cx="5592998" cy="4480560"/>
            <a:chOff x="5330758" y="1695450"/>
            <a:chExt cx="5592998" cy="4480560"/>
          </a:xfrm>
        </p:grpSpPr>
        <p:sp>
          <p:nvSpPr>
            <p:cNvPr id="4" name="Rectangle 3"/>
            <p:cNvSpPr/>
            <p:nvPr>
              <p:custDataLst>
                <p:tags r:id="rId9"/>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solidFill>
                  <a:latin typeface="Segoe UI Light" pitchFamily="34" charset="0"/>
                </a:rPr>
                <a:t>Cluster of Compute Nodes</a:t>
              </a:r>
            </a:p>
          </p:txBody>
        </p:sp>
        <p:grpSp>
          <p:nvGrpSpPr>
            <p:cNvPr id="12" name="Group 11"/>
            <p:cNvGrpSpPr/>
            <p:nvPr/>
          </p:nvGrpSpPr>
          <p:grpSpPr>
            <a:xfrm>
              <a:off x="5526081" y="2295216"/>
              <a:ext cx="5202353" cy="3697914"/>
              <a:chOff x="6328612" y="2295216"/>
              <a:chExt cx="5202353" cy="3697914"/>
            </a:xfrm>
          </p:grpSpPr>
          <p:sp>
            <p:nvSpPr>
              <p:cNvPr id="43" name="Rectangle 42"/>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44" name="Rectangle 43"/>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45" name="Rectangle 44"/>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46" name="Rectangle 45"/>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47" name="Rectangle 46"/>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48" name="Rectangle 47"/>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49" name="Rectangle 48"/>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50" name="Rectangle 49"/>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51" name="Rectangle 50"/>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52" name="Rectangle 51"/>
              <p:cNvSpPr/>
              <p:nvPr>
                <p:custDataLst>
                  <p:tags r:id="rId10"/>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53" name="Rectangle 52"/>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54" name="Rectangle 53"/>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55" name="Rectangle 54"/>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56" name="Rectangle 55"/>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57" name="Rectangle 56"/>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58" name="Rectangle 57"/>
              <p:cNvSpPr/>
              <p:nvPr>
                <p:custDataLst>
                  <p:tags r:id="rId11"/>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59" name="Rectangle 58"/>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60" name="Rectangle 59"/>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grpSp>
      </p:grpSp>
      <p:grpSp>
        <p:nvGrpSpPr>
          <p:cNvPr id="13" name="Group 12"/>
          <p:cNvGrpSpPr/>
          <p:nvPr/>
        </p:nvGrpSpPr>
        <p:grpSpPr>
          <a:xfrm>
            <a:off x="517525" y="3021330"/>
            <a:ext cx="1463040" cy="1828800"/>
            <a:chOff x="580977" y="3021330"/>
            <a:chExt cx="1463040" cy="1828800"/>
          </a:xfrm>
        </p:grpSpPr>
        <p:sp>
          <p:nvSpPr>
            <p:cNvPr id="24" name="Rectangle 23"/>
            <p:cNvSpPr/>
            <p:nvPr>
              <p:custDataLst>
                <p:tags r:id="rId7"/>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936"/>
              <a:endParaRPr lang="en-US" sz="1500" dirty="0">
                <a:ln>
                  <a:solidFill>
                    <a:schemeClr val="bg1">
                      <a:alpha val="0"/>
                    </a:schemeClr>
                  </a:solidFill>
                </a:ln>
                <a:solidFill>
                  <a:schemeClr val="bg1">
                    <a:alpha val="99000"/>
                  </a:schemeClr>
                </a:solidFill>
                <a:ea typeface="Segoe UI" pitchFamily="34" charset="0"/>
                <a:cs typeface="Segoe UI" pitchFamily="34" charset="0"/>
              </a:endParaRPr>
            </a:p>
          </p:txBody>
        </p:sp>
        <p:pic>
          <p:nvPicPr>
            <p:cNvPr id="3" name="Picture 6" descr="\\MAGNUM\Projects\Microsoft\Cloud Power FY12\Design\ICONS_PNG\Flexible_Workspace.png"/>
            <p:cNvPicPr>
              <a:picLocks noChangeAspect="1" noChangeArrowheads="1"/>
            </p:cNvPicPr>
            <p:nvPr>
              <p:custDataLst>
                <p:tags r:id="rId8"/>
              </p:custDataLst>
            </p:nvPr>
          </p:nvPicPr>
          <p:blipFill rotWithShape="1">
            <a:blip r:embed="rId16"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10"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05292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5330758" y="1695450"/>
            <a:ext cx="5592998" cy="4480560"/>
            <a:chOff x="5330758" y="1695450"/>
            <a:chExt cx="5592998" cy="4480560"/>
          </a:xfrm>
        </p:grpSpPr>
        <p:sp>
          <p:nvSpPr>
            <p:cNvPr id="68" name="Rectangle 67"/>
            <p:cNvSpPr/>
            <p:nvPr>
              <p:custDataLst>
                <p:tags r:id="rId26"/>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solidFill>
                  <a:latin typeface="Segoe UI Light" pitchFamily="34" charset="0"/>
                </a:rPr>
                <a:t>Cluster of Compute Nodes</a:t>
              </a:r>
            </a:p>
          </p:txBody>
        </p:sp>
        <p:grpSp>
          <p:nvGrpSpPr>
            <p:cNvPr id="69" name="Group 68"/>
            <p:cNvGrpSpPr/>
            <p:nvPr/>
          </p:nvGrpSpPr>
          <p:grpSpPr>
            <a:xfrm>
              <a:off x="5526081" y="2295216"/>
              <a:ext cx="5202353" cy="3697914"/>
              <a:chOff x="6328612" y="2295216"/>
              <a:chExt cx="5202353" cy="3697914"/>
            </a:xfrm>
          </p:grpSpPr>
          <p:sp>
            <p:nvSpPr>
              <p:cNvPr id="70" name="Rectangle 69"/>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71" name="Rectangle 70"/>
              <p:cNvSpPr/>
              <p:nvPr/>
            </p:nvSpPr>
            <p:spPr bwMode="auto">
              <a:xfrm>
                <a:off x="642005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72" name="Rectangle 71"/>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73" name="Rectangle 72"/>
              <p:cNvSpPr/>
              <p:nvPr/>
            </p:nvSpPr>
            <p:spPr bwMode="auto">
              <a:xfrm>
                <a:off x="8203132"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74" name="Rectangle 73"/>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75" name="Rectangle 74"/>
              <p:cNvSpPr/>
              <p:nvPr/>
            </p:nvSpPr>
            <p:spPr bwMode="auto">
              <a:xfrm>
                <a:off x="9976485" y="2706696"/>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95" name="Rectangle 94"/>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96" name="Rectangle 95"/>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97" name="Rectangle 96"/>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98" name="Rectangle 97"/>
              <p:cNvSpPr/>
              <p:nvPr>
                <p:custDataLst>
                  <p:tags r:id="rId27"/>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99" name="Rectangle 98"/>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100" name="Rectangle 99"/>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101" name="Rectangle 100"/>
              <p:cNvSpPr/>
              <p:nvPr/>
            </p:nvSpPr>
            <p:spPr bwMode="auto">
              <a:xfrm>
                <a:off x="642005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102" name="Rectangle 101"/>
              <p:cNvSpPr/>
              <p:nvPr/>
            </p:nvSpPr>
            <p:spPr bwMode="auto">
              <a:xfrm>
                <a:off x="8203132"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a:t>
                </a:r>
                <a:r>
                  <a:rPr lang="en-US" sz="1400" dirty="0" smtClean="0">
                    <a:ln>
                      <a:solidFill>
                        <a:schemeClr val="bg1">
                          <a:alpha val="0"/>
                        </a:schemeClr>
                      </a:solidFill>
                    </a:ln>
                    <a:solidFill>
                      <a:srgbClr val="595959"/>
                    </a:solidFill>
                  </a:rPr>
                  <a:t>Logic</a:t>
                </a:r>
                <a:endParaRPr lang="en-US" sz="1400" dirty="0">
                  <a:ln>
                    <a:solidFill>
                      <a:schemeClr val="bg1">
                        <a:alpha val="0"/>
                      </a:schemeClr>
                    </a:solidFill>
                  </a:ln>
                  <a:solidFill>
                    <a:srgbClr val="595959"/>
                  </a:solidFill>
                </a:endParaRPr>
              </a:p>
            </p:txBody>
          </p:sp>
          <p:sp>
            <p:nvSpPr>
              <p:cNvPr id="103" name="Rectangle 102"/>
              <p:cNvSpPr/>
              <p:nvPr/>
            </p:nvSpPr>
            <p:spPr bwMode="auto">
              <a:xfrm>
                <a:off x="9976485" y="4007013"/>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104" name="Rectangle 103"/>
              <p:cNvSpPr/>
              <p:nvPr>
                <p:custDataLst>
                  <p:tags r:id="rId28"/>
                </p:custDataLst>
              </p:nvPr>
            </p:nvSpPr>
            <p:spPr bwMode="auto">
              <a:xfrm>
                <a:off x="642005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105" name="Rectangle 104"/>
              <p:cNvSpPr/>
              <p:nvPr/>
            </p:nvSpPr>
            <p:spPr bwMode="auto">
              <a:xfrm>
                <a:off x="8203132"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sp>
            <p:nvSpPr>
              <p:cNvPr id="106" name="Rectangle 105"/>
              <p:cNvSpPr/>
              <p:nvPr/>
            </p:nvSpPr>
            <p:spPr bwMode="auto">
              <a:xfrm>
                <a:off x="9976485" y="5307330"/>
                <a:ext cx="1463040" cy="5486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 Logic</a:t>
                </a:r>
              </a:p>
            </p:txBody>
          </p:sp>
        </p:grpSp>
      </p:grpSp>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286126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6"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246495"/>
          </a:xfrm>
        </p:spPr>
        <p:txBody>
          <a:bodyPr/>
          <a:lstStyle/>
          <a:p>
            <a:r>
              <a:rPr lang="en-US" dirty="0"/>
              <a:t>Tightly Coupled App (MPI)</a:t>
            </a:r>
            <a:br>
              <a:rPr lang="en-US" dirty="0"/>
            </a:br>
            <a:r>
              <a:rPr lang="en-US" sz="3600" dirty="0" smtClean="0">
                <a:solidFill>
                  <a:schemeClr val="accent4"/>
                </a:solidFill>
              </a:rPr>
              <a:t>An </a:t>
            </a:r>
            <a:r>
              <a:rPr lang="en-US" sz="3600" dirty="0">
                <a:solidFill>
                  <a:schemeClr val="accent4"/>
                </a:solidFill>
              </a:rPr>
              <a:t>illustration</a:t>
            </a:r>
          </a:p>
        </p:txBody>
      </p:sp>
      <p:grpSp>
        <p:nvGrpSpPr>
          <p:cNvPr id="40" name="Group 39"/>
          <p:cNvGrpSpPr/>
          <p:nvPr/>
        </p:nvGrpSpPr>
        <p:grpSpPr>
          <a:xfrm>
            <a:off x="517525" y="3021330"/>
            <a:ext cx="1463040" cy="1828800"/>
            <a:chOff x="580977" y="3021330"/>
            <a:chExt cx="1463040" cy="1828800"/>
          </a:xfrm>
        </p:grpSpPr>
        <p:sp>
          <p:nvSpPr>
            <p:cNvPr id="41" name="Rectangle 40"/>
            <p:cNvSpPr/>
            <p:nvPr>
              <p:custDataLst>
                <p:tags r:id="rId24"/>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936"/>
              <a:endParaRPr lang="en-US" sz="1500" dirty="0">
                <a:ln>
                  <a:solidFill>
                    <a:schemeClr val="bg1">
                      <a:alpha val="0"/>
                    </a:schemeClr>
                  </a:solidFill>
                </a:ln>
                <a:solidFill>
                  <a:schemeClr val="bg1">
                    <a:alpha val="99000"/>
                  </a:schemeClr>
                </a:solidFill>
                <a:ea typeface="Segoe UI" pitchFamily="34" charset="0"/>
                <a:cs typeface="Segoe UI" pitchFamily="34" charset="0"/>
              </a:endParaRPr>
            </a:p>
          </p:txBody>
        </p:sp>
        <p:pic>
          <p:nvPicPr>
            <p:cNvPr id="42" name="Picture 6" descr="\\MAGNUM\Projects\Microsoft\Cloud Power FY12\Design\ICONS_PNG\Flexible_Workspace.png"/>
            <p:cNvPicPr>
              <a:picLocks noChangeAspect="1" noChangeArrowheads="1"/>
            </p:cNvPicPr>
            <p:nvPr>
              <p:custDataLst>
                <p:tags r:id="rId25"/>
              </p:custDataLst>
            </p:nvPr>
          </p:nvPicPr>
          <p:blipFill rotWithShape="1">
            <a:blip r:embed="rId33"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43"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107" name="Straight Arrow Connector 106"/>
          <p:cNvCxnSpPr/>
          <p:nvPr>
            <p:custDataLst>
              <p:tags r:id="rId4"/>
            </p:custDataLst>
          </p:nvPr>
        </p:nvCxnSpPr>
        <p:spPr>
          <a:xfrm>
            <a:off x="7066760" y="2862359"/>
            <a:ext cx="35995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custDataLst>
              <p:tags r:id="rId5"/>
            </p:custDataLst>
          </p:nvPr>
        </p:nvCxnSpPr>
        <p:spPr>
          <a:xfrm>
            <a:off x="8828652" y="2862359"/>
            <a:ext cx="35995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custDataLst>
              <p:tags r:id="rId6"/>
            </p:custDataLst>
          </p:nvPr>
        </p:nvCxnSpPr>
        <p:spPr>
          <a:xfrm>
            <a:off x="7066760" y="5639012"/>
            <a:ext cx="35995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custDataLst>
              <p:tags r:id="rId7"/>
            </p:custDataLst>
          </p:nvPr>
        </p:nvCxnSpPr>
        <p:spPr>
          <a:xfrm>
            <a:off x="8828652" y="5639012"/>
            <a:ext cx="359952" cy="0"/>
          </a:xfrm>
          <a:prstGeom prst="straightConnector1">
            <a:avLst/>
          </a:prstGeom>
          <a:ln w="25400">
            <a:solidFill>
              <a:schemeClr val="accent6">
                <a:lumMod val="75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custDataLst>
              <p:tags r:id="rId8"/>
            </p:custDataLst>
          </p:nvPr>
        </p:nvCxnSpPr>
        <p:spPr>
          <a:xfrm>
            <a:off x="7066760" y="4356622"/>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custDataLst>
              <p:tags r:id="rId9"/>
            </p:custDataLst>
          </p:nvPr>
        </p:nvCxnSpPr>
        <p:spPr>
          <a:xfrm>
            <a:off x="8828652" y="4356622"/>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custDataLst>
              <p:tags r:id="rId10"/>
            </p:custDataLst>
          </p:nvPr>
        </p:nvCxnSpPr>
        <p:spPr>
          <a:xfrm>
            <a:off x="7066760" y="5438290"/>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custDataLst>
              <p:tags r:id="rId11"/>
            </p:custDataLst>
          </p:nvPr>
        </p:nvCxnSpPr>
        <p:spPr>
          <a:xfrm>
            <a:off x="8828652" y="5438290"/>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243763" y="4357688"/>
            <a:ext cx="0" cy="108108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9005888" y="4357688"/>
            <a:ext cx="0" cy="108108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custDataLst>
              <p:tags r:id="rId12"/>
            </p:custDataLst>
          </p:nvPr>
        </p:nvCxnSpPr>
        <p:spPr>
          <a:xfrm>
            <a:off x="7066760" y="3074232"/>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custDataLst>
              <p:tags r:id="rId13"/>
            </p:custDataLst>
          </p:nvPr>
        </p:nvCxnSpPr>
        <p:spPr>
          <a:xfrm>
            <a:off x="8828652" y="3074232"/>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243763" y="3075298"/>
            <a:ext cx="0" cy="1010927"/>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9005888" y="3075298"/>
            <a:ext cx="0" cy="1015690"/>
          </a:xfrm>
          <a:prstGeom prst="line">
            <a:avLst/>
          </a:prstGeom>
          <a:ln w="19050">
            <a:solidFill>
              <a:schemeClr val="accent6">
                <a:lumMod val="75000"/>
              </a:schemeClr>
            </a:solidFill>
            <a:headEnd w="med" len="med"/>
            <a:tailEnd w="med"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custDataLst>
              <p:tags r:id="rId14"/>
            </p:custDataLst>
          </p:nvPr>
        </p:nvCxnSpPr>
        <p:spPr>
          <a:xfrm flipH="1">
            <a:off x="7222877" y="4356622"/>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custDataLst>
              <p:tags r:id="rId15"/>
            </p:custDataLst>
          </p:nvPr>
        </p:nvCxnSpPr>
        <p:spPr>
          <a:xfrm flipH="1">
            <a:off x="8984769" y="4356622"/>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custDataLst>
              <p:tags r:id="rId16"/>
            </p:custDataLst>
          </p:nvPr>
        </p:nvCxnSpPr>
        <p:spPr>
          <a:xfrm>
            <a:off x="7066760" y="4222808"/>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custDataLst>
              <p:tags r:id="rId17"/>
            </p:custDataLst>
          </p:nvPr>
        </p:nvCxnSpPr>
        <p:spPr>
          <a:xfrm>
            <a:off x="8828652" y="4222808"/>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custDataLst>
              <p:tags r:id="rId18"/>
            </p:custDataLst>
          </p:nvPr>
        </p:nvCxnSpPr>
        <p:spPr>
          <a:xfrm flipH="1">
            <a:off x="7222877" y="4222808"/>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custDataLst>
              <p:tags r:id="rId19"/>
            </p:custDataLst>
          </p:nvPr>
        </p:nvCxnSpPr>
        <p:spPr>
          <a:xfrm flipH="1">
            <a:off x="8984769" y="4222808"/>
            <a:ext cx="182880"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custDataLst>
              <p:tags r:id="rId20"/>
            </p:custDataLst>
          </p:nvPr>
        </p:nvCxnSpPr>
        <p:spPr>
          <a:xfrm flipH="1">
            <a:off x="7241381" y="4089458"/>
            <a:ext cx="164376"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custDataLst>
              <p:tags r:id="rId21"/>
            </p:custDataLst>
          </p:nvPr>
        </p:nvCxnSpPr>
        <p:spPr>
          <a:xfrm flipH="1">
            <a:off x="9005888" y="4089458"/>
            <a:ext cx="161761" cy="0"/>
          </a:xfrm>
          <a:prstGeom prst="straightConnector1">
            <a:avLst/>
          </a:prstGeom>
          <a:ln w="25400">
            <a:solidFill>
              <a:schemeClr val="accent6">
                <a:lumMod val="75000"/>
              </a:schemeClr>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Right Arrow 53"/>
          <p:cNvSpPr/>
          <p:nvPr>
            <p:custDataLst>
              <p:tags r:id="rId22"/>
            </p:custDataLst>
          </p:nvPr>
        </p:nvSpPr>
        <p:spPr bwMode="auto">
          <a:xfrm>
            <a:off x="2166366" y="3021330"/>
            <a:ext cx="3017520" cy="54864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1. Submit work</a:t>
            </a:r>
          </a:p>
        </p:txBody>
      </p:sp>
      <p:sp>
        <p:nvSpPr>
          <p:cNvPr id="55" name="Right Arrow 54"/>
          <p:cNvSpPr/>
          <p:nvPr>
            <p:custDataLst>
              <p:tags r:id="rId23"/>
            </p:custDataLst>
          </p:nvPr>
        </p:nvSpPr>
        <p:spPr bwMode="auto">
          <a:xfrm flipH="1">
            <a:off x="2154938" y="4301490"/>
            <a:ext cx="3017520" cy="54864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2</a:t>
            </a:r>
            <a:r>
              <a:rPr lang="en-US" sz="1200" dirty="0" smtClean="0">
                <a:ln>
                  <a:solidFill>
                    <a:schemeClr val="bg1">
                      <a:alpha val="0"/>
                    </a:schemeClr>
                  </a:solidFill>
                </a:ln>
                <a:solidFill>
                  <a:schemeClr val="bg1">
                    <a:alpha val="99000"/>
                  </a:schemeClr>
                </a:solidFill>
              </a:rPr>
              <a:t>. </a:t>
            </a:r>
            <a:r>
              <a:rPr lang="en-US" sz="1200" dirty="0">
                <a:ln>
                  <a:solidFill>
                    <a:schemeClr val="bg1">
                      <a:alpha val="0"/>
                    </a:schemeClr>
                  </a:solidFill>
                </a:ln>
                <a:solidFill>
                  <a:schemeClr val="bg1">
                    <a:alpha val="99000"/>
                  </a:schemeClr>
                </a:solidFill>
              </a:rPr>
              <a:t>Get results</a:t>
            </a:r>
          </a:p>
        </p:txBody>
      </p:sp>
    </p:spTree>
    <p:extLst>
      <p:ext uri="{BB962C8B-B14F-4D97-AF65-F5344CB8AC3E}">
        <p14:creationId xmlns:p14="http://schemas.microsoft.com/office/powerpoint/2010/main" val="985156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left)">
                                      <p:cBhvr>
                                        <p:cTn id="7" dur="500"/>
                                        <p:tgtEl>
                                          <p:spTgt spid="5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wipe(right)">
                                      <p:cBhvr>
                                        <p:cTn id="1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307054173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246495"/>
          </a:xfrm>
        </p:spPr>
        <p:txBody>
          <a:bodyPr/>
          <a:lstStyle/>
          <a:p>
            <a:r>
              <a:rPr lang="en-US" dirty="0" smtClean="0"/>
              <a:t>IO Intensive Applications</a:t>
            </a:r>
            <a:r>
              <a:rPr lang="en-US" dirty="0"/>
              <a:t/>
            </a:r>
            <a:br>
              <a:rPr lang="en-US" dirty="0"/>
            </a:br>
            <a:r>
              <a:rPr lang="en-US" sz="3600" dirty="0" smtClean="0">
                <a:solidFill>
                  <a:schemeClr val="accent4"/>
                </a:solidFill>
              </a:rPr>
              <a:t>An </a:t>
            </a:r>
            <a:r>
              <a:rPr lang="en-US" sz="3600" dirty="0">
                <a:solidFill>
                  <a:schemeClr val="accent4"/>
                </a:solidFill>
              </a:rPr>
              <a:t>illustration</a:t>
            </a:r>
          </a:p>
        </p:txBody>
      </p:sp>
      <p:grpSp>
        <p:nvGrpSpPr>
          <p:cNvPr id="80" name="Group 79"/>
          <p:cNvGrpSpPr/>
          <p:nvPr/>
        </p:nvGrpSpPr>
        <p:grpSpPr>
          <a:xfrm>
            <a:off x="517525" y="3021330"/>
            <a:ext cx="1463040" cy="1828800"/>
            <a:chOff x="580977" y="3021330"/>
            <a:chExt cx="1463040" cy="1828800"/>
          </a:xfrm>
        </p:grpSpPr>
        <p:sp>
          <p:nvSpPr>
            <p:cNvPr id="81" name="Rectangle 80"/>
            <p:cNvSpPr/>
            <p:nvPr>
              <p:custDataLst>
                <p:tags r:id="rId9"/>
              </p:custDataLst>
            </p:nvPr>
          </p:nvSpPr>
          <p:spPr>
            <a:xfrm>
              <a:off x="580977" y="3021330"/>
              <a:ext cx="1463040" cy="1828800"/>
            </a:xfrm>
            <a:prstGeom prst="rect">
              <a:avLst/>
            </a:prstGeom>
            <a:solidFill>
              <a:schemeClr val="accent4"/>
            </a:solidFill>
            <a:ln w="9525" cap="flat" cmpd="sng" algn="ctr">
              <a:noFill/>
              <a:prstDash val="solid"/>
            </a:ln>
            <a:effectLst/>
          </p:spPr>
          <p:txBody>
            <a:bodyPr rtlCol="0" anchor="t" anchorCtr="0"/>
            <a:lstStyle/>
            <a:p>
              <a:pPr algn="ctr" defTabSz="1218936"/>
              <a:endParaRPr lang="en-US" sz="1500" dirty="0">
                <a:ln>
                  <a:solidFill>
                    <a:schemeClr val="bg1">
                      <a:alpha val="0"/>
                    </a:schemeClr>
                  </a:solidFill>
                </a:ln>
                <a:solidFill>
                  <a:schemeClr val="bg1">
                    <a:alpha val="99000"/>
                  </a:schemeClr>
                </a:solidFill>
                <a:ea typeface="Segoe UI" pitchFamily="34" charset="0"/>
                <a:cs typeface="Segoe UI" pitchFamily="34" charset="0"/>
              </a:endParaRPr>
            </a:p>
          </p:txBody>
        </p:sp>
        <p:pic>
          <p:nvPicPr>
            <p:cNvPr id="82" name="Picture 6" descr="\\MAGNUM\Projects\Microsoft\Cloud Power FY12\Design\ICONS_PNG\Flexible_Workspace.png"/>
            <p:cNvPicPr>
              <a:picLocks noChangeAspect="1" noChangeArrowheads="1"/>
            </p:cNvPicPr>
            <p:nvPr>
              <p:custDataLst>
                <p:tags r:id="rId10"/>
              </p:custDataLst>
            </p:nvPr>
          </p:nvPicPr>
          <p:blipFill rotWithShape="1">
            <a:blip r:embed="rId15" cstate="screen">
              <a:biLevel thresh="25000"/>
              <a:extLst>
                <a:ext uri="{28A0092B-C50C-407E-A947-70E740481C1C}">
                  <a14:useLocalDpi xmlns:a14="http://schemas.microsoft.com/office/drawing/2010/main"/>
                </a:ext>
              </a:extLst>
            </a:blip>
            <a:srcRect/>
            <a:stretch/>
          </p:blipFill>
          <p:spPr bwMode="auto">
            <a:xfrm>
              <a:off x="614722" y="3227096"/>
              <a:ext cx="517154" cy="1097280"/>
            </a:xfrm>
            <a:prstGeom prst="rect">
              <a:avLst/>
            </a:prstGeom>
            <a:noFill/>
            <a:ln>
              <a:noFill/>
            </a:ln>
          </p:spPr>
        </p:pic>
        <p:sp>
          <p:nvSpPr>
            <p:cNvPr id="83" name="Freeform 40"/>
            <p:cNvSpPr>
              <a:spLocks noEditPoints="1"/>
            </p:cNvSpPr>
            <p:nvPr/>
          </p:nvSpPr>
          <p:spPr bwMode="auto">
            <a:xfrm>
              <a:off x="1121922" y="3537769"/>
              <a:ext cx="765244" cy="576956"/>
            </a:xfrm>
            <a:custGeom>
              <a:avLst/>
              <a:gdLst>
                <a:gd name="T0" fmla="*/ 153 w 1125"/>
                <a:gd name="T1" fmla="*/ 596 h 848"/>
                <a:gd name="T2" fmla="*/ 197 w 1125"/>
                <a:gd name="T3" fmla="*/ 90 h 848"/>
                <a:gd name="T4" fmla="*/ 907 w 1125"/>
                <a:gd name="T5" fmla="*/ 625 h 848"/>
                <a:gd name="T6" fmla="*/ 870 w 1125"/>
                <a:gd name="T7" fmla="*/ 594 h 848"/>
                <a:gd name="T8" fmla="*/ 567 w 1125"/>
                <a:gd name="T9" fmla="*/ 618 h 848"/>
                <a:gd name="T10" fmla="*/ 503 w 1125"/>
                <a:gd name="T11" fmla="*/ 614 h 848"/>
                <a:gd name="T12" fmla="*/ 516 w 1125"/>
                <a:gd name="T13" fmla="*/ 595 h 848"/>
                <a:gd name="T14" fmla="*/ 534 w 1125"/>
                <a:gd name="T15" fmla="*/ 645 h 848"/>
                <a:gd name="T16" fmla="*/ 553 w 1125"/>
                <a:gd name="T17" fmla="*/ 684 h 848"/>
                <a:gd name="T18" fmla="*/ 499 w 1125"/>
                <a:gd name="T19" fmla="*/ 655 h 848"/>
                <a:gd name="T20" fmla="*/ 433 w 1125"/>
                <a:gd name="T21" fmla="*/ 645 h 848"/>
                <a:gd name="T22" fmla="*/ 458 w 1125"/>
                <a:gd name="T23" fmla="*/ 678 h 848"/>
                <a:gd name="T24" fmla="*/ 421 w 1125"/>
                <a:gd name="T25" fmla="*/ 627 h 848"/>
                <a:gd name="T26" fmla="*/ 430 w 1125"/>
                <a:gd name="T27" fmla="*/ 595 h 848"/>
                <a:gd name="T28" fmla="*/ 471 w 1125"/>
                <a:gd name="T29" fmla="*/ 619 h 848"/>
                <a:gd name="T30" fmla="*/ 293 w 1125"/>
                <a:gd name="T31" fmla="*/ 655 h 848"/>
                <a:gd name="T32" fmla="*/ 352 w 1125"/>
                <a:gd name="T33" fmla="*/ 678 h 848"/>
                <a:gd name="T34" fmla="*/ 283 w 1125"/>
                <a:gd name="T35" fmla="*/ 677 h 848"/>
                <a:gd name="T36" fmla="*/ 214 w 1125"/>
                <a:gd name="T37" fmla="*/ 623 h 848"/>
                <a:gd name="T38" fmla="*/ 283 w 1125"/>
                <a:gd name="T39" fmla="*/ 612 h 848"/>
                <a:gd name="T40" fmla="*/ 321 w 1125"/>
                <a:gd name="T41" fmla="*/ 600 h 848"/>
                <a:gd name="T42" fmla="*/ 376 w 1125"/>
                <a:gd name="T43" fmla="*/ 616 h 848"/>
                <a:gd name="T44" fmla="*/ 225 w 1125"/>
                <a:gd name="T45" fmla="*/ 714 h 848"/>
                <a:gd name="T46" fmla="*/ 180 w 1125"/>
                <a:gd name="T47" fmla="*/ 754 h 848"/>
                <a:gd name="T48" fmla="*/ 151 w 1125"/>
                <a:gd name="T49" fmla="*/ 714 h 848"/>
                <a:gd name="T50" fmla="*/ 210 w 1125"/>
                <a:gd name="T51" fmla="*/ 705 h 848"/>
                <a:gd name="T52" fmla="*/ 233 w 1125"/>
                <a:gd name="T53" fmla="*/ 683 h 848"/>
                <a:gd name="T54" fmla="*/ 176 w 1125"/>
                <a:gd name="T55" fmla="*/ 676 h 848"/>
                <a:gd name="T56" fmla="*/ 207 w 1125"/>
                <a:gd name="T57" fmla="*/ 646 h 848"/>
                <a:gd name="T58" fmla="*/ 568 w 1125"/>
                <a:gd name="T59" fmla="*/ 742 h 848"/>
                <a:gd name="T60" fmla="*/ 556 w 1125"/>
                <a:gd name="T61" fmla="*/ 752 h 848"/>
                <a:gd name="T62" fmla="*/ 251 w 1125"/>
                <a:gd name="T63" fmla="*/ 741 h 848"/>
                <a:gd name="T64" fmla="*/ 275 w 1125"/>
                <a:gd name="T65" fmla="*/ 707 h 848"/>
                <a:gd name="T66" fmla="*/ 562 w 1125"/>
                <a:gd name="T67" fmla="*/ 707 h 848"/>
                <a:gd name="T68" fmla="*/ 599 w 1125"/>
                <a:gd name="T69" fmla="*/ 617 h 848"/>
                <a:gd name="T70" fmla="*/ 646 w 1125"/>
                <a:gd name="T71" fmla="*/ 595 h 848"/>
                <a:gd name="T72" fmla="*/ 616 w 1125"/>
                <a:gd name="T73" fmla="*/ 627 h 848"/>
                <a:gd name="T74" fmla="*/ 602 w 1125"/>
                <a:gd name="T75" fmla="*/ 655 h 848"/>
                <a:gd name="T76" fmla="*/ 670 w 1125"/>
                <a:gd name="T77" fmla="*/ 681 h 848"/>
                <a:gd name="T78" fmla="*/ 619 w 1125"/>
                <a:gd name="T79" fmla="*/ 684 h 848"/>
                <a:gd name="T80" fmla="*/ 662 w 1125"/>
                <a:gd name="T81" fmla="*/ 753 h 848"/>
                <a:gd name="T82" fmla="*/ 608 w 1125"/>
                <a:gd name="T83" fmla="*/ 740 h 848"/>
                <a:gd name="T84" fmla="*/ 611 w 1125"/>
                <a:gd name="T85" fmla="*/ 708 h 848"/>
                <a:gd name="T86" fmla="*/ 632 w 1125"/>
                <a:gd name="T87" fmla="*/ 703 h 848"/>
                <a:gd name="T88" fmla="*/ 683 w 1125"/>
                <a:gd name="T89" fmla="*/ 716 h 848"/>
                <a:gd name="T90" fmla="*/ 743 w 1125"/>
                <a:gd name="T91" fmla="*/ 600 h 848"/>
                <a:gd name="T92" fmla="*/ 801 w 1125"/>
                <a:gd name="T93" fmla="*/ 598 h 848"/>
                <a:gd name="T94" fmla="*/ 803 w 1125"/>
                <a:gd name="T95" fmla="*/ 627 h 848"/>
                <a:gd name="T96" fmla="*/ 762 w 1125"/>
                <a:gd name="T97" fmla="*/ 654 h 848"/>
                <a:gd name="T98" fmla="*/ 840 w 1125"/>
                <a:gd name="T99" fmla="*/ 674 h 848"/>
                <a:gd name="T100" fmla="*/ 830 w 1125"/>
                <a:gd name="T101" fmla="*/ 683 h 848"/>
                <a:gd name="T102" fmla="*/ 871 w 1125"/>
                <a:gd name="T103" fmla="*/ 749 h 848"/>
                <a:gd name="T104" fmla="*/ 788 w 1125"/>
                <a:gd name="T105" fmla="*/ 724 h 848"/>
                <a:gd name="T106" fmla="*/ 836 w 1125"/>
                <a:gd name="T107" fmla="*/ 703 h 848"/>
                <a:gd name="T108" fmla="*/ 875 w 1125"/>
                <a:gd name="T109" fmla="*/ 671 h 848"/>
                <a:gd name="T110" fmla="*/ 948 w 1125"/>
                <a:gd name="T111" fmla="*/ 677 h 848"/>
                <a:gd name="T112" fmla="*/ 992 w 1125"/>
                <a:gd name="T113" fmla="*/ 748 h 848"/>
                <a:gd name="T114" fmla="*/ 899 w 1125"/>
                <a:gd name="T115" fmla="*/ 713 h 848"/>
                <a:gd name="T116" fmla="*/ 973 w 1125"/>
                <a:gd name="T117" fmla="*/ 712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5" h="848">
                  <a:moveTo>
                    <a:pt x="1106" y="754"/>
                  </a:moveTo>
                  <a:cubicBezTo>
                    <a:pt x="1092" y="737"/>
                    <a:pt x="1079" y="721"/>
                    <a:pt x="1065" y="705"/>
                  </a:cubicBezTo>
                  <a:cubicBezTo>
                    <a:pt x="1034" y="669"/>
                    <a:pt x="1004" y="633"/>
                    <a:pt x="974" y="597"/>
                  </a:cubicBezTo>
                  <a:cubicBezTo>
                    <a:pt x="972" y="596"/>
                    <a:pt x="971" y="594"/>
                    <a:pt x="969" y="592"/>
                  </a:cubicBezTo>
                  <a:cubicBezTo>
                    <a:pt x="963" y="584"/>
                    <a:pt x="953" y="580"/>
                    <a:pt x="944" y="577"/>
                  </a:cubicBezTo>
                  <a:cubicBezTo>
                    <a:pt x="934" y="574"/>
                    <a:pt x="924" y="571"/>
                    <a:pt x="913" y="571"/>
                  </a:cubicBezTo>
                  <a:cubicBezTo>
                    <a:pt x="950" y="561"/>
                    <a:pt x="976" y="529"/>
                    <a:pt x="976" y="490"/>
                  </a:cubicBezTo>
                  <a:cubicBezTo>
                    <a:pt x="976" y="85"/>
                    <a:pt x="976" y="85"/>
                    <a:pt x="976" y="85"/>
                  </a:cubicBezTo>
                  <a:cubicBezTo>
                    <a:pt x="976" y="38"/>
                    <a:pt x="938" y="0"/>
                    <a:pt x="892" y="0"/>
                  </a:cubicBezTo>
                  <a:cubicBezTo>
                    <a:pt x="232" y="0"/>
                    <a:pt x="232" y="0"/>
                    <a:pt x="232" y="0"/>
                  </a:cubicBezTo>
                  <a:cubicBezTo>
                    <a:pt x="185" y="0"/>
                    <a:pt x="147" y="38"/>
                    <a:pt x="147" y="85"/>
                  </a:cubicBezTo>
                  <a:cubicBezTo>
                    <a:pt x="147" y="490"/>
                    <a:pt x="147" y="490"/>
                    <a:pt x="147" y="490"/>
                  </a:cubicBezTo>
                  <a:cubicBezTo>
                    <a:pt x="147" y="529"/>
                    <a:pt x="174" y="562"/>
                    <a:pt x="211" y="571"/>
                  </a:cubicBezTo>
                  <a:cubicBezTo>
                    <a:pt x="190" y="572"/>
                    <a:pt x="167" y="580"/>
                    <a:pt x="153" y="596"/>
                  </a:cubicBezTo>
                  <a:cubicBezTo>
                    <a:pt x="142" y="609"/>
                    <a:pt x="131" y="621"/>
                    <a:pt x="121" y="634"/>
                  </a:cubicBezTo>
                  <a:cubicBezTo>
                    <a:pt x="88" y="673"/>
                    <a:pt x="56" y="711"/>
                    <a:pt x="23" y="750"/>
                  </a:cubicBezTo>
                  <a:cubicBezTo>
                    <a:pt x="15" y="760"/>
                    <a:pt x="0" y="774"/>
                    <a:pt x="0" y="787"/>
                  </a:cubicBezTo>
                  <a:cubicBezTo>
                    <a:pt x="0" y="823"/>
                    <a:pt x="0" y="823"/>
                    <a:pt x="0" y="823"/>
                  </a:cubicBezTo>
                  <a:cubicBezTo>
                    <a:pt x="0" y="828"/>
                    <a:pt x="1" y="832"/>
                    <a:pt x="4" y="836"/>
                  </a:cubicBezTo>
                  <a:cubicBezTo>
                    <a:pt x="12" y="848"/>
                    <a:pt x="29" y="848"/>
                    <a:pt x="42" y="848"/>
                  </a:cubicBezTo>
                  <a:cubicBezTo>
                    <a:pt x="61" y="848"/>
                    <a:pt x="1027" y="848"/>
                    <a:pt x="1056" y="848"/>
                  </a:cubicBezTo>
                  <a:cubicBezTo>
                    <a:pt x="1071" y="848"/>
                    <a:pt x="1087" y="847"/>
                    <a:pt x="1101" y="844"/>
                  </a:cubicBezTo>
                  <a:cubicBezTo>
                    <a:pt x="1111" y="842"/>
                    <a:pt x="1122" y="837"/>
                    <a:pt x="1123" y="825"/>
                  </a:cubicBezTo>
                  <a:cubicBezTo>
                    <a:pt x="1123" y="786"/>
                    <a:pt x="1123" y="786"/>
                    <a:pt x="1123" y="786"/>
                  </a:cubicBezTo>
                  <a:cubicBezTo>
                    <a:pt x="1125" y="777"/>
                    <a:pt x="1120" y="769"/>
                    <a:pt x="1114" y="763"/>
                  </a:cubicBezTo>
                  <a:cubicBezTo>
                    <a:pt x="1111" y="759"/>
                    <a:pt x="1109" y="756"/>
                    <a:pt x="1106" y="754"/>
                  </a:cubicBezTo>
                  <a:close/>
                  <a:moveTo>
                    <a:pt x="197" y="484"/>
                  </a:moveTo>
                  <a:cubicBezTo>
                    <a:pt x="197" y="90"/>
                    <a:pt x="197" y="90"/>
                    <a:pt x="197" y="90"/>
                  </a:cubicBezTo>
                  <a:cubicBezTo>
                    <a:pt x="197" y="66"/>
                    <a:pt x="216" y="47"/>
                    <a:pt x="240" y="47"/>
                  </a:cubicBezTo>
                  <a:cubicBezTo>
                    <a:pt x="883" y="47"/>
                    <a:pt x="883" y="47"/>
                    <a:pt x="883" y="47"/>
                  </a:cubicBezTo>
                  <a:cubicBezTo>
                    <a:pt x="907" y="47"/>
                    <a:pt x="927" y="66"/>
                    <a:pt x="927" y="90"/>
                  </a:cubicBezTo>
                  <a:cubicBezTo>
                    <a:pt x="927" y="484"/>
                    <a:pt x="927" y="484"/>
                    <a:pt x="927" y="484"/>
                  </a:cubicBezTo>
                  <a:cubicBezTo>
                    <a:pt x="927" y="508"/>
                    <a:pt x="907" y="528"/>
                    <a:pt x="883" y="528"/>
                  </a:cubicBezTo>
                  <a:cubicBezTo>
                    <a:pt x="240" y="528"/>
                    <a:pt x="240" y="528"/>
                    <a:pt x="240" y="528"/>
                  </a:cubicBezTo>
                  <a:cubicBezTo>
                    <a:pt x="216" y="528"/>
                    <a:pt x="197" y="508"/>
                    <a:pt x="197" y="484"/>
                  </a:cubicBezTo>
                  <a:close/>
                  <a:moveTo>
                    <a:pt x="909" y="621"/>
                  </a:moveTo>
                  <a:cubicBezTo>
                    <a:pt x="909" y="622"/>
                    <a:pt x="909" y="623"/>
                    <a:pt x="908" y="624"/>
                  </a:cubicBezTo>
                  <a:cubicBezTo>
                    <a:pt x="908" y="624"/>
                    <a:pt x="908" y="624"/>
                    <a:pt x="908" y="624"/>
                  </a:cubicBezTo>
                  <a:cubicBezTo>
                    <a:pt x="908" y="624"/>
                    <a:pt x="908" y="624"/>
                    <a:pt x="908" y="624"/>
                  </a:cubicBezTo>
                  <a:cubicBezTo>
                    <a:pt x="908" y="624"/>
                    <a:pt x="908" y="624"/>
                    <a:pt x="907" y="624"/>
                  </a:cubicBezTo>
                  <a:cubicBezTo>
                    <a:pt x="907" y="624"/>
                    <a:pt x="907" y="624"/>
                    <a:pt x="907" y="624"/>
                  </a:cubicBezTo>
                  <a:cubicBezTo>
                    <a:pt x="907" y="624"/>
                    <a:pt x="907" y="624"/>
                    <a:pt x="907" y="625"/>
                  </a:cubicBezTo>
                  <a:cubicBezTo>
                    <a:pt x="906" y="625"/>
                    <a:pt x="906" y="625"/>
                    <a:pt x="906" y="625"/>
                  </a:cubicBezTo>
                  <a:cubicBezTo>
                    <a:pt x="902" y="627"/>
                    <a:pt x="896" y="627"/>
                    <a:pt x="891" y="627"/>
                  </a:cubicBezTo>
                  <a:cubicBezTo>
                    <a:pt x="866" y="627"/>
                    <a:pt x="866" y="627"/>
                    <a:pt x="866" y="627"/>
                  </a:cubicBezTo>
                  <a:cubicBezTo>
                    <a:pt x="862" y="627"/>
                    <a:pt x="857" y="626"/>
                    <a:pt x="853" y="624"/>
                  </a:cubicBezTo>
                  <a:cubicBezTo>
                    <a:pt x="851" y="623"/>
                    <a:pt x="849" y="622"/>
                    <a:pt x="848" y="621"/>
                  </a:cubicBezTo>
                  <a:cubicBezTo>
                    <a:pt x="847" y="620"/>
                    <a:pt x="845" y="619"/>
                    <a:pt x="845" y="618"/>
                  </a:cubicBezTo>
                  <a:cubicBezTo>
                    <a:pt x="844" y="616"/>
                    <a:pt x="844" y="616"/>
                    <a:pt x="844" y="616"/>
                  </a:cubicBezTo>
                  <a:cubicBezTo>
                    <a:pt x="841" y="611"/>
                    <a:pt x="838" y="607"/>
                    <a:pt x="836" y="602"/>
                  </a:cubicBezTo>
                  <a:cubicBezTo>
                    <a:pt x="834" y="599"/>
                    <a:pt x="836" y="597"/>
                    <a:pt x="839" y="596"/>
                  </a:cubicBezTo>
                  <a:cubicBezTo>
                    <a:pt x="840" y="595"/>
                    <a:pt x="840" y="595"/>
                    <a:pt x="841" y="595"/>
                  </a:cubicBezTo>
                  <a:cubicBezTo>
                    <a:pt x="843" y="594"/>
                    <a:pt x="845" y="594"/>
                    <a:pt x="847" y="594"/>
                  </a:cubicBezTo>
                  <a:cubicBezTo>
                    <a:pt x="850" y="594"/>
                    <a:pt x="850" y="594"/>
                    <a:pt x="850" y="594"/>
                  </a:cubicBezTo>
                  <a:cubicBezTo>
                    <a:pt x="850" y="594"/>
                    <a:pt x="850" y="594"/>
                    <a:pt x="850" y="594"/>
                  </a:cubicBezTo>
                  <a:cubicBezTo>
                    <a:pt x="857" y="594"/>
                    <a:pt x="863" y="594"/>
                    <a:pt x="870" y="594"/>
                  </a:cubicBezTo>
                  <a:cubicBezTo>
                    <a:pt x="870" y="594"/>
                    <a:pt x="870" y="594"/>
                    <a:pt x="870" y="594"/>
                  </a:cubicBezTo>
                  <a:cubicBezTo>
                    <a:pt x="876" y="594"/>
                    <a:pt x="876" y="594"/>
                    <a:pt x="876" y="594"/>
                  </a:cubicBezTo>
                  <a:cubicBezTo>
                    <a:pt x="878" y="594"/>
                    <a:pt x="881" y="594"/>
                    <a:pt x="883" y="594"/>
                  </a:cubicBezTo>
                  <a:cubicBezTo>
                    <a:pt x="884" y="595"/>
                    <a:pt x="886" y="595"/>
                    <a:pt x="887" y="596"/>
                  </a:cubicBezTo>
                  <a:cubicBezTo>
                    <a:pt x="888" y="596"/>
                    <a:pt x="888" y="596"/>
                    <a:pt x="888" y="596"/>
                  </a:cubicBezTo>
                  <a:cubicBezTo>
                    <a:pt x="888" y="596"/>
                    <a:pt x="888" y="596"/>
                    <a:pt x="889" y="596"/>
                  </a:cubicBezTo>
                  <a:cubicBezTo>
                    <a:pt x="889" y="596"/>
                    <a:pt x="889" y="596"/>
                    <a:pt x="889" y="596"/>
                  </a:cubicBezTo>
                  <a:cubicBezTo>
                    <a:pt x="891" y="597"/>
                    <a:pt x="893" y="598"/>
                    <a:pt x="894" y="599"/>
                  </a:cubicBezTo>
                  <a:cubicBezTo>
                    <a:pt x="896" y="600"/>
                    <a:pt x="897" y="601"/>
                    <a:pt x="898" y="602"/>
                  </a:cubicBezTo>
                  <a:cubicBezTo>
                    <a:pt x="903" y="609"/>
                    <a:pt x="903" y="609"/>
                    <a:pt x="903" y="609"/>
                  </a:cubicBezTo>
                  <a:cubicBezTo>
                    <a:pt x="904" y="611"/>
                    <a:pt x="907" y="614"/>
                    <a:pt x="908" y="617"/>
                  </a:cubicBezTo>
                  <a:cubicBezTo>
                    <a:pt x="908" y="617"/>
                    <a:pt x="908" y="617"/>
                    <a:pt x="908" y="617"/>
                  </a:cubicBezTo>
                  <a:cubicBezTo>
                    <a:pt x="909" y="619"/>
                    <a:pt x="909" y="620"/>
                    <a:pt x="909" y="621"/>
                  </a:cubicBezTo>
                  <a:close/>
                  <a:moveTo>
                    <a:pt x="567" y="618"/>
                  </a:moveTo>
                  <a:cubicBezTo>
                    <a:pt x="567" y="619"/>
                    <a:pt x="567" y="620"/>
                    <a:pt x="566" y="621"/>
                  </a:cubicBezTo>
                  <a:cubicBezTo>
                    <a:pt x="561" y="630"/>
                    <a:pt x="540" y="627"/>
                    <a:pt x="533" y="627"/>
                  </a:cubicBezTo>
                  <a:cubicBezTo>
                    <a:pt x="528" y="627"/>
                    <a:pt x="523" y="627"/>
                    <a:pt x="519" y="627"/>
                  </a:cubicBezTo>
                  <a:cubicBezTo>
                    <a:pt x="515" y="627"/>
                    <a:pt x="509" y="627"/>
                    <a:pt x="505" y="624"/>
                  </a:cubicBezTo>
                  <a:cubicBezTo>
                    <a:pt x="505" y="623"/>
                    <a:pt x="505" y="623"/>
                    <a:pt x="505" y="623"/>
                  </a:cubicBezTo>
                  <a:cubicBezTo>
                    <a:pt x="505" y="623"/>
                    <a:pt x="505" y="623"/>
                    <a:pt x="505" y="623"/>
                  </a:cubicBezTo>
                  <a:cubicBezTo>
                    <a:pt x="504" y="622"/>
                    <a:pt x="504" y="622"/>
                    <a:pt x="504" y="622"/>
                  </a:cubicBezTo>
                  <a:cubicBezTo>
                    <a:pt x="504" y="622"/>
                    <a:pt x="504" y="622"/>
                    <a:pt x="504" y="622"/>
                  </a:cubicBezTo>
                  <a:cubicBezTo>
                    <a:pt x="504" y="622"/>
                    <a:pt x="504" y="622"/>
                    <a:pt x="504" y="622"/>
                  </a:cubicBezTo>
                  <a:cubicBezTo>
                    <a:pt x="504" y="622"/>
                    <a:pt x="503" y="621"/>
                    <a:pt x="503" y="621"/>
                  </a:cubicBezTo>
                  <a:cubicBezTo>
                    <a:pt x="503" y="620"/>
                    <a:pt x="503" y="619"/>
                    <a:pt x="503" y="619"/>
                  </a:cubicBezTo>
                  <a:cubicBezTo>
                    <a:pt x="503" y="618"/>
                    <a:pt x="503" y="618"/>
                    <a:pt x="503" y="618"/>
                  </a:cubicBezTo>
                  <a:cubicBezTo>
                    <a:pt x="503" y="617"/>
                    <a:pt x="503" y="616"/>
                    <a:pt x="503" y="615"/>
                  </a:cubicBezTo>
                  <a:cubicBezTo>
                    <a:pt x="503" y="614"/>
                    <a:pt x="503" y="614"/>
                    <a:pt x="503" y="614"/>
                  </a:cubicBezTo>
                  <a:cubicBezTo>
                    <a:pt x="504" y="611"/>
                    <a:pt x="504" y="607"/>
                    <a:pt x="505" y="604"/>
                  </a:cubicBezTo>
                  <a:cubicBezTo>
                    <a:pt x="505" y="603"/>
                    <a:pt x="505" y="603"/>
                    <a:pt x="505" y="603"/>
                  </a:cubicBezTo>
                  <a:cubicBezTo>
                    <a:pt x="505" y="602"/>
                    <a:pt x="505" y="601"/>
                    <a:pt x="506" y="600"/>
                  </a:cubicBezTo>
                  <a:cubicBezTo>
                    <a:pt x="507" y="599"/>
                    <a:pt x="508" y="599"/>
                    <a:pt x="509" y="598"/>
                  </a:cubicBezTo>
                  <a:cubicBezTo>
                    <a:pt x="509" y="598"/>
                    <a:pt x="509" y="598"/>
                    <a:pt x="509" y="598"/>
                  </a:cubicBezTo>
                  <a:cubicBezTo>
                    <a:pt x="509" y="598"/>
                    <a:pt x="509" y="597"/>
                    <a:pt x="510" y="597"/>
                  </a:cubicBezTo>
                  <a:cubicBezTo>
                    <a:pt x="510" y="597"/>
                    <a:pt x="510" y="597"/>
                    <a:pt x="510" y="597"/>
                  </a:cubicBezTo>
                  <a:cubicBezTo>
                    <a:pt x="510" y="597"/>
                    <a:pt x="510" y="597"/>
                    <a:pt x="510" y="597"/>
                  </a:cubicBezTo>
                  <a:cubicBezTo>
                    <a:pt x="511" y="597"/>
                    <a:pt x="512" y="597"/>
                    <a:pt x="512" y="596"/>
                  </a:cubicBezTo>
                  <a:cubicBezTo>
                    <a:pt x="512" y="596"/>
                    <a:pt x="512" y="596"/>
                    <a:pt x="513" y="596"/>
                  </a:cubicBezTo>
                  <a:cubicBezTo>
                    <a:pt x="513" y="596"/>
                    <a:pt x="514" y="596"/>
                    <a:pt x="515" y="596"/>
                  </a:cubicBezTo>
                  <a:cubicBezTo>
                    <a:pt x="515" y="596"/>
                    <a:pt x="515" y="595"/>
                    <a:pt x="515" y="595"/>
                  </a:cubicBezTo>
                  <a:cubicBezTo>
                    <a:pt x="515" y="595"/>
                    <a:pt x="515" y="595"/>
                    <a:pt x="515" y="595"/>
                  </a:cubicBezTo>
                  <a:cubicBezTo>
                    <a:pt x="516" y="595"/>
                    <a:pt x="516" y="595"/>
                    <a:pt x="516" y="595"/>
                  </a:cubicBezTo>
                  <a:cubicBezTo>
                    <a:pt x="518" y="595"/>
                    <a:pt x="520" y="595"/>
                    <a:pt x="521" y="595"/>
                  </a:cubicBezTo>
                  <a:cubicBezTo>
                    <a:pt x="523" y="595"/>
                    <a:pt x="523" y="595"/>
                    <a:pt x="523" y="595"/>
                  </a:cubicBezTo>
                  <a:cubicBezTo>
                    <a:pt x="524" y="595"/>
                    <a:pt x="526" y="595"/>
                    <a:pt x="528" y="595"/>
                  </a:cubicBezTo>
                  <a:cubicBezTo>
                    <a:pt x="551" y="595"/>
                    <a:pt x="551" y="595"/>
                    <a:pt x="551" y="595"/>
                  </a:cubicBezTo>
                  <a:cubicBezTo>
                    <a:pt x="551" y="595"/>
                    <a:pt x="551" y="595"/>
                    <a:pt x="552" y="595"/>
                  </a:cubicBezTo>
                  <a:cubicBezTo>
                    <a:pt x="553" y="595"/>
                    <a:pt x="553" y="595"/>
                    <a:pt x="553" y="595"/>
                  </a:cubicBezTo>
                  <a:cubicBezTo>
                    <a:pt x="553" y="595"/>
                    <a:pt x="554" y="595"/>
                    <a:pt x="554" y="595"/>
                  </a:cubicBezTo>
                  <a:cubicBezTo>
                    <a:pt x="559" y="595"/>
                    <a:pt x="564" y="597"/>
                    <a:pt x="566" y="601"/>
                  </a:cubicBezTo>
                  <a:cubicBezTo>
                    <a:pt x="566" y="601"/>
                    <a:pt x="566" y="601"/>
                    <a:pt x="566" y="602"/>
                  </a:cubicBezTo>
                  <a:cubicBezTo>
                    <a:pt x="567" y="602"/>
                    <a:pt x="567" y="602"/>
                    <a:pt x="567" y="602"/>
                  </a:cubicBezTo>
                  <a:cubicBezTo>
                    <a:pt x="568" y="607"/>
                    <a:pt x="567" y="612"/>
                    <a:pt x="567" y="617"/>
                  </a:cubicBezTo>
                  <a:cubicBezTo>
                    <a:pt x="567" y="618"/>
                    <a:pt x="567" y="618"/>
                    <a:pt x="567" y="618"/>
                  </a:cubicBezTo>
                  <a:cubicBezTo>
                    <a:pt x="567" y="618"/>
                    <a:pt x="567" y="618"/>
                    <a:pt x="567" y="618"/>
                  </a:cubicBezTo>
                  <a:close/>
                  <a:moveTo>
                    <a:pt x="534" y="645"/>
                  </a:moveTo>
                  <a:cubicBezTo>
                    <a:pt x="543" y="645"/>
                    <a:pt x="562" y="642"/>
                    <a:pt x="567" y="651"/>
                  </a:cubicBezTo>
                  <a:cubicBezTo>
                    <a:pt x="567" y="652"/>
                    <a:pt x="567" y="653"/>
                    <a:pt x="567" y="654"/>
                  </a:cubicBezTo>
                  <a:cubicBezTo>
                    <a:pt x="567" y="664"/>
                    <a:pt x="567" y="664"/>
                    <a:pt x="567" y="664"/>
                  </a:cubicBezTo>
                  <a:cubicBezTo>
                    <a:pt x="567" y="666"/>
                    <a:pt x="567" y="669"/>
                    <a:pt x="567" y="672"/>
                  </a:cubicBezTo>
                  <a:cubicBezTo>
                    <a:pt x="567" y="672"/>
                    <a:pt x="567" y="672"/>
                    <a:pt x="567" y="672"/>
                  </a:cubicBezTo>
                  <a:cubicBezTo>
                    <a:pt x="567" y="673"/>
                    <a:pt x="567" y="673"/>
                    <a:pt x="567" y="673"/>
                  </a:cubicBezTo>
                  <a:cubicBezTo>
                    <a:pt x="567" y="675"/>
                    <a:pt x="567" y="676"/>
                    <a:pt x="566" y="678"/>
                  </a:cubicBezTo>
                  <a:cubicBezTo>
                    <a:pt x="566" y="678"/>
                    <a:pt x="566" y="678"/>
                    <a:pt x="566" y="678"/>
                  </a:cubicBezTo>
                  <a:cubicBezTo>
                    <a:pt x="565" y="678"/>
                    <a:pt x="565" y="679"/>
                    <a:pt x="564" y="679"/>
                  </a:cubicBezTo>
                  <a:cubicBezTo>
                    <a:pt x="564" y="679"/>
                    <a:pt x="564" y="679"/>
                    <a:pt x="564" y="679"/>
                  </a:cubicBezTo>
                  <a:cubicBezTo>
                    <a:pt x="562" y="681"/>
                    <a:pt x="559" y="683"/>
                    <a:pt x="556" y="683"/>
                  </a:cubicBezTo>
                  <a:cubicBezTo>
                    <a:pt x="556" y="683"/>
                    <a:pt x="556" y="683"/>
                    <a:pt x="556" y="683"/>
                  </a:cubicBezTo>
                  <a:cubicBezTo>
                    <a:pt x="556" y="683"/>
                    <a:pt x="556" y="683"/>
                    <a:pt x="556" y="683"/>
                  </a:cubicBezTo>
                  <a:cubicBezTo>
                    <a:pt x="555" y="684"/>
                    <a:pt x="554" y="684"/>
                    <a:pt x="553" y="684"/>
                  </a:cubicBezTo>
                  <a:cubicBezTo>
                    <a:pt x="553" y="684"/>
                    <a:pt x="552" y="684"/>
                    <a:pt x="552" y="684"/>
                  </a:cubicBezTo>
                  <a:cubicBezTo>
                    <a:pt x="551" y="684"/>
                    <a:pt x="550" y="684"/>
                    <a:pt x="549" y="684"/>
                  </a:cubicBezTo>
                  <a:cubicBezTo>
                    <a:pt x="549" y="684"/>
                    <a:pt x="549" y="684"/>
                    <a:pt x="549" y="684"/>
                  </a:cubicBezTo>
                  <a:cubicBezTo>
                    <a:pt x="514" y="684"/>
                    <a:pt x="514" y="684"/>
                    <a:pt x="514" y="684"/>
                  </a:cubicBezTo>
                  <a:cubicBezTo>
                    <a:pt x="510" y="684"/>
                    <a:pt x="505" y="683"/>
                    <a:pt x="501" y="681"/>
                  </a:cubicBezTo>
                  <a:cubicBezTo>
                    <a:pt x="501" y="681"/>
                    <a:pt x="501" y="681"/>
                    <a:pt x="501" y="681"/>
                  </a:cubicBezTo>
                  <a:cubicBezTo>
                    <a:pt x="501" y="681"/>
                    <a:pt x="501" y="681"/>
                    <a:pt x="501" y="681"/>
                  </a:cubicBezTo>
                  <a:cubicBezTo>
                    <a:pt x="501" y="680"/>
                    <a:pt x="500" y="680"/>
                    <a:pt x="499" y="680"/>
                  </a:cubicBezTo>
                  <a:cubicBezTo>
                    <a:pt x="499" y="679"/>
                    <a:pt x="498" y="678"/>
                    <a:pt x="498" y="678"/>
                  </a:cubicBezTo>
                  <a:cubicBezTo>
                    <a:pt x="498" y="678"/>
                    <a:pt x="498" y="678"/>
                    <a:pt x="498" y="678"/>
                  </a:cubicBezTo>
                  <a:cubicBezTo>
                    <a:pt x="497" y="676"/>
                    <a:pt x="497" y="675"/>
                    <a:pt x="497" y="673"/>
                  </a:cubicBezTo>
                  <a:cubicBezTo>
                    <a:pt x="497" y="671"/>
                    <a:pt x="497" y="671"/>
                    <a:pt x="497" y="671"/>
                  </a:cubicBezTo>
                  <a:cubicBezTo>
                    <a:pt x="497" y="671"/>
                    <a:pt x="497" y="671"/>
                    <a:pt x="497" y="671"/>
                  </a:cubicBezTo>
                  <a:cubicBezTo>
                    <a:pt x="498" y="665"/>
                    <a:pt x="498" y="660"/>
                    <a:pt x="499" y="655"/>
                  </a:cubicBezTo>
                  <a:cubicBezTo>
                    <a:pt x="499" y="654"/>
                    <a:pt x="499" y="654"/>
                    <a:pt x="499" y="654"/>
                  </a:cubicBezTo>
                  <a:cubicBezTo>
                    <a:pt x="499" y="654"/>
                    <a:pt x="499" y="654"/>
                    <a:pt x="499" y="654"/>
                  </a:cubicBezTo>
                  <a:cubicBezTo>
                    <a:pt x="501" y="642"/>
                    <a:pt x="525" y="645"/>
                    <a:pt x="534" y="645"/>
                  </a:cubicBezTo>
                  <a:close/>
                  <a:moveTo>
                    <a:pt x="394" y="681"/>
                  </a:moveTo>
                  <a:cubicBezTo>
                    <a:pt x="393" y="681"/>
                    <a:pt x="392" y="680"/>
                    <a:pt x="391" y="680"/>
                  </a:cubicBezTo>
                  <a:cubicBezTo>
                    <a:pt x="391" y="679"/>
                    <a:pt x="391" y="679"/>
                    <a:pt x="391" y="678"/>
                  </a:cubicBezTo>
                  <a:cubicBezTo>
                    <a:pt x="391" y="678"/>
                    <a:pt x="391" y="678"/>
                    <a:pt x="391" y="678"/>
                  </a:cubicBezTo>
                  <a:cubicBezTo>
                    <a:pt x="390" y="677"/>
                    <a:pt x="390" y="675"/>
                    <a:pt x="390" y="674"/>
                  </a:cubicBezTo>
                  <a:cubicBezTo>
                    <a:pt x="391" y="671"/>
                    <a:pt x="391" y="671"/>
                    <a:pt x="391" y="671"/>
                  </a:cubicBezTo>
                  <a:cubicBezTo>
                    <a:pt x="391" y="671"/>
                    <a:pt x="391" y="671"/>
                    <a:pt x="391" y="671"/>
                  </a:cubicBezTo>
                  <a:cubicBezTo>
                    <a:pt x="391" y="671"/>
                    <a:pt x="391" y="670"/>
                    <a:pt x="391" y="670"/>
                  </a:cubicBezTo>
                  <a:cubicBezTo>
                    <a:pt x="396" y="655"/>
                    <a:pt x="396" y="655"/>
                    <a:pt x="396" y="655"/>
                  </a:cubicBezTo>
                  <a:cubicBezTo>
                    <a:pt x="396" y="654"/>
                    <a:pt x="396" y="654"/>
                    <a:pt x="397" y="654"/>
                  </a:cubicBezTo>
                  <a:cubicBezTo>
                    <a:pt x="401" y="642"/>
                    <a:pt x="422" y="645"/>
                    <a:pt x="433" y="645"/>
                  </a:cubicBezTo>
                  <a:cubicBezTo>
                    <a:pt x="437" y="645"/>
                    <a:pt x="445" y="644"/>
                    <a:pt x="452" y="645"/>
                  </a:cubicBezTo>
                  <a:cubicBezTo>
                    <a:pt x="453" y="645"/>
                    <a:pt x="454" y="645"/>
                    <a:pt x="456" y="645"/>
                  </a:cubicBezTo>
                  <a:cubicBezTo>
                    <a:pt x="456" y="645"/>
                    <a:pt x="456" y="645"/>
                    <a:pt x="456" y="645"/>
                  </a:cubicBezTo>
                  <a:cubicBezTo>
                    <a:pt x="459" y="646"/>
                    <a:pt x="462" y="648"/>
                    <a:pt x="464" y="650"/>
                  </a:cubicBezTo>
                  <a:cubicBezTo>
                    <a:pt x="464" y="650"/>
                    <a:pt x="464" y="650"/>
                    <a:pt x="464" y="650"/>
                  </a:cubicBezTo>
                  <a:cubicBezTo>
                    <a:pt x="464" y="651"/>
                    <a:pt x="464" y="651"/>
                    <a:pt x="464" y="651"/>
                  </a:cubicBezTo>
                  <a:cubicBezTo>
                    <a:pt x="464" y="651"/>
                    <a:pt x="464" y="651"/>
                    <a:pt x="464" y="651"/>
                  </a:cubicBezTo>
                  <a:cubicBezTo>
                    <a:pt x="464" y="652"/>
                    <a:pt x="465" y="653"/>
                    <a:pt x="464" y="655"/>
                  </a:cubicBezTo>
                  <a:cubicBezTo>
                    <a:pt x="464" y="655"/>
                    <a:pt x="464" y="655"/>
                    <a:pt x="464" y="655"/>
                  </a:cubicBezTo>
                  <a:cubicBezTo>
                    <a:pt x="464" y="655"/>
                    <a:pt x="464" y="655"/>
                    <a:pt x="464" y="655"/>
                  </a:cubicBezTo>
                  <a:cubicBezTo>
                    <a:pt x="464" y="658"/>
                    <a:pt x="463" y="661"/>
                    <a:pt x="463" y="664"/>
                  </a:cubicBezTo>
                  <a:cubicBezTo>
                    <a:pt x="461" y="673"/>
                    <a:pt x="461" y="673"/>
                    <a:pt x="461" y="673"/>
                  </a:cubicBezTo>
                  <a:cubicBezTo>
                    <a:pt x="461" y="675"/>
                    <a:pt x="460" y="676"/>
                    <a:pt x="459" y="678"/>
                  </a:cubicBezTo>
                  <a:cubicBezTo>
                    <a:pt x="459" y="678"/>
                    <a:pt x="458" y="678"/>
                    <a:pt x="458" y="678"/>
                  </a:cubicBezTo>
                  <a:cubicBezTo>
                    <a:pt x="458" y="678"/>
                    <a:pt x="458" y="678"/>
                    <a:pt x="458" y="678"/>
                  </a:cubicBezTo>
                  <a:cubicBezTo>
                    <a:pt x="458" y="679"/>
                    <a:pt x="457" y="679"/>
                    <a:pt x="457" y="680"/>
                  </a:cubicBezTo>
                  <a:cubicBezTo>
                    <a:pt x="454" y="682"/>
                    <a:pt x="451" y="683"/>
                    <a:pt x="448" y="683"/>
                  </a:cubicBezTo>
                  <a:cubicBezTo>
                    <a:pt x="448" y="684"/>
                    <a:pt x="448" y="684"/>
                    <a:pt x="448" y="684"/>
                  </a:cubicBezTo>
                  <a:cubicBezTo>
                    <a:pt x="448" y="684"/>
                    <a:pt x="448" y="684"/>
                    <a:pt x="448" y="684"/>
                  </a:cubicBezTo>
                  <a:cubicBezTo>
                    <a:pt x="447" y="684"/>
                    <a:pt x="446" y="684"/>
                    <a:pt x="445" y="684"/>
                  </a:cubicBezTo>
                  <a:cubicBezTo>
                    <a:pt x="445" y="684"/>
                    <a:pt x="444" y="684"/>
                    <a:pt x="444" y="684"/>
                  </a:cubicBezTo>
                  <a:cubicBezTo>
                    <a:pt x="443" y="684"/>
                    <a:pt x="442" y="685"/>
                    <a:pt x="440" y="685"/>
                  </a:cubicBezTo>
                  <a:cubicBezTo>
                    <a:pt x="440" y="685"/>
                    <a:pt x="440" y="685"/>
                    <a:pt x="440" y="685"/>
                  </a:cubicBezTo>
                  <a:cubicBezTo>
                    <a:pt x="406" y="685"/>
                    <a:pt x="406" y="685"/>
                    <a:pt x="406" y="685"/>
                  </a:cubicBezTo>
                  <a:cubicBezTo>
                    <a:pt x="402" y="685"/>
                    <a:pt x="397" y="684"/>
                    <a:pt x="394" y="681"/>
                  </a:cubicBezTo>
                  <a:cubicBezTo>
                    <a:pt x="394" y="681"/>
                    <a:pt x="394" y="681"/>
                    <a:pt x="394" y="681"/>
                  </a:cubicBezTo>
                  <a:close/>
                  <a:moveTo>
                    <a:pt x="437" y="627"/>
                  </a:moveTo>
                  <a:cubicBezTo>
                    <a:pt x="432" y="627"/>
                    <a:pt x="426" y="627"/>
                    <a:pt x="421" y="627"/>
                  </a:cubicBezTo>
                  <a:cubicBezTo>
                    <a:pt x="417" y="627"/>
                    <a:pt x="409" y="627"/>
                    <a:pt x="407" y="622"/>
                  </a:cubicBezTo>
                  <a:cubicBezTo>
                    <a:pt x="407" y="622"/>
                    <a:pt x="407" y="621"/>
                    <a:pt x="407" y="621"/>
                  </a:cubicBezTo>
                  <a:cubicBezTo>
                    <a:pt x="407" y="621"/>
                    <a:pt x="407" y="620"/>
                    <a:pt x="407" y="620"/>
                  </a:cubicBezTo>
                  <a:cubicBezTo>
                    <a:pt x="407" y="619"/>
                    <a:pt x="407" y="619"/>
                    <a:pt x="407" y="619"/>
                  </a:cubicBezTo>
                  <a:cubicBezTo>
                    <a:pt x="407" y="619"/>
                    <a:pt x="407" y="619"/>
                    <a:pt x="407" y="619"/>
                  </a:cubicBezTo>
                  <a:cubicBezTo>
                    <a:pt x="407" y="619"/>
                    <a:pt x="407" y="619"/>
                    <a:pt x="407" y="619"/>
                  </a:cubicBezTo>
                  <a:cubicBezTo>
                    <a:pt x="407" y="617"/>
                    <a:pt x="408" y="616"/>
                    <a:pt x="408" y="615"/>
                  </a:cubicBezTo>
                  <a:cubicBezTo>
                    <a:pt x="409" y="611"/>
                    <a:pt x="410" y="607"/>
                    <a:pt x="412" y="604"/>
                  </a:cubicBezTo>
                  <a:cubicBezTo>
                    <a:pt x="412" y="603"/>
                    <a:pt x="412" y="603"/>
                    <a:pt x="412" y="603"/>
                  </a:cubicBezTo>
                  <a:cubicBezTo>
                    <a:pt x="412" y="602"/>
                    <a:pt x="413" y="601"/>
                    <a:pt x="414" y="600"/>
                  </a:cubicBezTo>
                  <a:cubicBezTo>
                    <a:pt x="415" y="599"/>
                    <a:pt x="415" y="599"/>
                    <a:pt x="416" y="599"/>
                  </a:cubicBezTo>
                  <a:cubicBezTo>
                    <a:pt x="418" y="597"/>
                    <a:pt x="420" y="596"/>
                    <a:pt x="423" y="596"/>
                  </a:cubicBezTo>
                  <a:cubicBezTo>
                    <a:pt x="423" y="596"/>
                    <a:pt x="423" y="596"/>
                    <a:pt x="424" y="596"/>
                  </a:cubicBezTo>
                  <a:cubicBezTo>
                    <a:pt x="425" y="595"/>
                    <a:pt x="428" y="595"/>
                    <a:pt x="430" y="595"/>
                  </a:cubicBezTo>
                  <a:cubicBezTo>
                    <a:pt x="433" y="595"/>
                    <a:pt x="433" y="595"/>
                    <a:pt x="433" y="595"/>
                  </a:cubicBezTo>
                  <a:cubicBezTo>
                    <a:pt x="434" y="595"/>
                    <a:pt x="435" y="595"/>
                    <a:pt x="436" y="595"/>
                  </a:cubicBezTo>
                  <a:cubicBezTo>
                    <a:pt x="442" y="595"/>
                    <a:pt x="449" y="595"/>
                    <a:pt x="455" y="595"/>
                  </a:cubicBezTo>
                  <a:cubicBezTo>
                    <a:pt x="456" y="595"/>
                    <a:pt x="457" y="595"/>
                    <a:pt x="458" y="595"/>
                  </a:cubicBezTo>
                  <a:cubicBezTo>
                    <a:pt x="459" y="595"/>
                    <a:pt x="459" y="595"/>
                    <a:pt x="459" y="595"/>
                  </a:cubicBezTo>
                  <a:cubicBezTo>
                    <a:pt x="459" y="595"/>
                    <a:pt x="459" y="595"/>
                    <a:pt x="460" y="595"/>
                  </a:cubicBezTo>
                  <a:cubicBezTo>
                    <a:pt x="461" y="595"/>
                    <a:pt x="461" y="595"/>
                    <a:pt x="462" y="595"/>
                  </a:cubicBezTo>
                  <a:cubicBezTo>
                    <a:pt x="462" y="595"/>
                    <a:pt x="462" y="595"/>
                    <a:pt x="462" y="595"/>
                  </a:cubicBezTo>
                  <a:cubicBezTo>
                    <a:pt x="467" y="596"/>
                    <a:pt x="473" y="597"/>
                    <a:pt x="474" y="601"/>
                  </a:cubicBezTo>
                  <a:cubicBezTo>
                    <a:pt x="474" y="602"/>
                    <a:pt x="474" y="602"/>
                    <a:pt x="474" y="602"/>
                  </a:cubicBezTo>
                  <a:cubicBezTo>
                    <a:pt x="474" y="602"/>
                    <a:pt x="474" y="602"/>
                    <a:pt x="474" y="602"/>
                  </a:cubicBezTo>
                  <a:cubicBezTo>
                    <a:pt x="474" y="607"/>
                    <a:pt x="472" y="613"/>
                    <a:pt x="471" y="617"/>
                  </a:cubicBezTo>
                  <a:cubicBezTo>
                    <a:pt x="471" y="617"/>
                    <a:pt x="471" y="617"/>
                    <a:pt x="471" y="617"/>
                  </a:cubicBezTo>
                  <a:cubicBezTo>
                    <a:pt x="471" y="619"/>
                    <a:pt x="471" y="619"/>
                    <a:pt x="471" y="619"/>
                  </a:cubicBezTo>
                  <a:cubicBezTo>
                    <a:pt x="471" y="619"/>
                    <a:pt x="470" y="620"/>
                    <a:pt x="469" y="621"/>
                  </a:cubicBezTo>
                  <a:cubicBezTo>
                    <a:pt x="469" y="622"/>
                    <a:pt x="469" y="622"/>
                    <a:pt x="469" y="622"/>
                  </a:cubicBezTo>
                  <a:cubicBezTo>
                    <a:pt x="469" y="622"/>
                    <a:pt x="469" y="622"/>
                    <a:pt x="469" y="622"/>
                  </a:cubicBezTo>
                  <a:cubicBezTo>
                    <a:pt x="469" y="622"/>
                    <a:pt x="469" y="622"/>
                    <a:pt x="469" y="622"/>
                  </a:cubicBezTo>
                  <a:cubicBezTo>
                    <a:pt x="462" y="630"/>
                    <a:pt x="445" y="627"/>
                    <a:pt x="437" y="627"/>
                  </a:cubicBezTo>
                  <a:close/>
                  <a:moveTo>
                    <a:pt x="283" y="677"/>
                  </a:moveTo>
                  <a:cubicBezTo>
                    <a:pt x="283" y="676"/>
                    <a:pt x="283" y="676"/>
                    <a:pt x="283" y="676"/>
                  </a:cubicBezTo>
                  <a:cubicBezTo>
                    <a:pt x="283" y="675"/>
                    <a:pt x="283" y="675"/>
                    <a:pt x="284" y="674"/>
                  </a:cubicBezTo>
                  <a:cubicBezTo>
                    <a:pt x="284" y="674"/>
                    <a:pt x="284" y="674"/>
                    <a:pt x="284" y="674"/>
                  </a:cubicBezTo>
                  <a:cubicBezTo>
                    <a:pt x="284" y="673"/>
                    <a:pt x="284" y="673"/>
                    <a:pt x="284" y="673"/>
                  </a:cubicBezTo>
                  <a:cubicBezTo>
                    <a:pt x="284" y="673"/>
                    <a:pt x="285" y="672"/>
                    <a:pt x="285" y="671"/>
                  </a:cubicBezTo>
                  <a:cubicBezTo>
                    <a:pt x="288" y="666"/>
                    <a:pt x="290" y="661"/>
                    <a:pt x="293" y="655"/>
                  </a:cubicBezTo>
                  <a:cubicBezTo>
                    <a:pt x="293" y="655"/>
                    <a:pt x="293" y="655"/>
                    <a:pt x="293" y="655"/>
                  </a:cubicBezTo>
                  <a:cubicBezTo>
                    <a:pt x="293" y="655"/>
                    <a:pt x="293" y="655"/>
                    <a:pt x="293" y="655"/>
                  </a:cubicBezTo>
                  <a:cubicBezTo>
                    <a:pt x="293" y="655"/>
                    <a:pt x="293" y="654"/>
                    <a:pt x="294" y="654"/>
                  </a:cubicBezTo>
                  <a:cubicBezTo>
                    <a:pt x="294" y="654"/>
                    <a:pt x="294" y="653"/>
                    <a:pt x="294" y="653"/>
                  </a:cubicBezTo>
                  <a:cubicBezTo>
                    <a:pt x="294" y="653"/>
                    <a:pt x="294" y="653"/>
                    <a:pt x="295" y="653"/>
                  </a:cubicBezTo>
                  <a:cubicBezTo>
                    <a:pt x="302" y="643"/>
                    <a:pt x="319" y="645"/>
                    <a:pt x="330" y="645"/>
                  </a:cubicBezTo>
                  <a:cubicBezTo>
                    <a:pt x="330" y="645"/>
                    <a:pt x="330" y="645"/>
                    <a:pt x="330" y="645"/>
                  </a:cubicBezTo>
                  <a:cubicBezTo>
                    <a:pt x="333" y="645"/>
                    <a:pt x="341" y="644"/>
                    <a:pt x="348" y="645"/>
                  </a:cubicBezTo>
                  <a:cubicBezTo>
                    <a:pt x="350" y="645"/>
                    <a:pt x="353" y="645"/>
                    <a:pt x="354" y="645"/>
                  </a:cubicBezTo>
                  <a:cubicBezTo>
                    <a:pt x="355" y="646"/>
                    <a:pt x="357" y="646"/>
                    <a:pt x="358" y="647"/>
                  </a:cubicBezTo>
                  <a:cubicBezTo>
                    <a:pt x="360" y="648"/>
                    <a:pt x="362" y="650"/>
                    <a:pt x="362" y="652"/>
                  </a:cubicBezTo>
                  <a:cubicBezTo>
                    <a:pt x="362" y="652"/>
                    <a:pt x="362" y="652"/>
                    <a:pt x="362" y="652"/>
                  </a:cubicBezTo>
                  <a:cubicBezTo>
                    <a:pt x="362" y="653"/>
                    <a:pt x="362" y="653"/>
                    <a:pt x="362" y="653"/>
                  </a:cubicBezTo>
                  <a:cubicBezTo>
                    <a:pt x="362" y="654"/>
                    <a:pt x="362" y="654"/>
                    <a:pt x="362" y="655"/>
                  </a:cubicBezTo>
                  <a:cubicBezTo>
                    <a:pt x="355" y="674"/>
                    <a:pt x="355" y="674"/>
                    <a:pt x="355" y="674"/>
                  </a:cubicBezTo>
                  <a:cubicBezTo>
                    <a:pt x="354" y="675"/>
                    <a:pt x="353" y="677"/>
                    <a:pt x="352" y="678"/>
                  </a:cubicBezTo>
                  <a:cubicBezTo>
                    <a:pt x="350" y="679"/>
                    <a:pt x="348" y="680"/>
                    <a:pt x="346" y="681"/>
                  </a:cubicBezTo>
                  <a:cubicBezTo>
                    <a:pt x="346" y="682"/>
                    <a:pt x="346" y="682"/>
                    <a:pt x="346" y="682"/>
                  </a:cubicBezTo>
                  <a:cubicBezTo>
                    <a:pt x="343" y="683"/>
                    <a:pt x="340" y="684"/>
                    <a:pt x="337" y="685"/>
                  </a:cubicBezTo>
                  <a:cubicBezTo>
                    <a:pt x="336" y="685"/>
                    <a:pt x="336" y="685"/>
                    <a:pt x="336" y="685"/>
                  </a:cubicBezTo>
                  <a:cubicBezTo>
                    <a:pt x="335" y="685"/>
                    <a:pt x="335" y="685"/>
                    <a:pt x="335" y="685"/>
                  </a:cubicBezTo>
                  <a:cubicBezTo>
                    <a:pt x="329" y="685"/>
                    <a:pt x="322" y="685"/>
                    <a:pt x="316" y="685"/>
                  </a:cubicBezTo>
                  <a:cubicBezTo>
                    <a:pt x="310" y="685"/>
                    <a:pt x="304" y="685"/>
                    <a:pt x="297" y="685"/>
                  </a:cubicBezTo>
                  <a:cubicBezTo>
                    <a:pt x="293" y="685"/>
                    <a:pt x="287" y="684"/>
                    <a:pt x="284" y="680"/>
                  </a:cubicBezTo>
                  <a:cubicBezTo>
                    <a:pt x="284" y="680"/>
                    <a:pt x="284" y="680"/>
                    <a:pt x="284" y="680"/>
                  </a:cubicBezTo>
                  <a:cubicBezTo>
                    <a:pt x="283" y="679"/>
                    <a:pt x="283" y="679"/>
                    <a:pt x="283" y="679"/>
                  </a:cubicBezTo>
                  <a:cubicBezTo>
                    <a:pt x="283" y="679"/>
                    <a:pt x="283" y="678"/>
                    <a:pt x="283" y="678"/>
                  </a:cubicBezTo>
                  <a:cubicBezTo>
                    <a:pt x="283" y="678"/>
                    <a:pt x="283" y="678"/>
                    <a:pt x="283" y="678"/>
                  </a:cubicBezTo>
                  <a:cubicBezTo>
                    <a:pt x="283" y="678"/>
                    <a:pt x="283" y="678"/>
                    <a:pt x="283" y="678"/>
                  </a:cubicBezTo>
                  <a:cubicBezTo>
                    <a:pt x="283" y="678"/>
                    <a:pt x="283" y="677"/>
                    <a:pt x="283" y="677"/>
                  </a:cubicBezTo>
                  <a:close/>
                  <a:moveTo>
                    <a:pt x="283" y="612"/>
                  </a:moveTo>
                  <a:cubicBezTo>
                    <a:pt x="283" y="612"/>
                    <a:pt x="283" y="612"/>
                    <a:pt x="283" y="612"/>
                  </a:cubicBezTo>
                  <a:cubicBezTo>
                    <a:pt x="278" y="619"/>
                    <a:pt x="278" y="619"/>
                    <a:pt x="278" y="619"/>
                  </a:cubicBezTo>
                  <a:cubicBezTo>
                    <a:pt x="278" y="620"/>
                    <a:pt x="277" y="622"/>
                    <a:pt x="275" y="622"/>
                  </a:cubicBezTo>
                  <a:cubicBezTo>
                    <a:pt x="274" y="624"/>
                    <a:pt x="272" y="624"/>
                    <a:pt x="270" y="625"/>
                  </a:cubicBezTo>
                  <a:cubicBezTo>
                    <a:pt x="270" y="625"/>
                    <a:pt x="269" y="626"/>
                    <a:pt x="268" y="626"/>
                  </a:cubicBezTo>
                  <a:cubicBezTo>
                    <a:pt x="268" y="626"/>
                    <a:pt x="268" y="626"/>
                    <a:pt x="268" y="626"/>
                  </a:cubicBezTo>
                  <a:cubicBezTo>
                    <a:pt x="268" y="626"/>
                    <a:pt x="268" y="626"/>
                    <a:pt x="268" y="626"/>
                  </a:cubicBezTo>
                  <a:cubicBezTo>
                    <a:pt x="266" y="627"/>
                    <a:pt x="265" y="627"/>
                    <a:pt x="264" y="627"/>
                  </a:cubicBezTo>
                  <a:cubicBezTo>
                    <a:pt x="261" y="628"/>
                    <a:pt x="259" y="628"/>
                    <a:pt x="257" y="628"/>
                  </a:cubicBezTo>
                  <a:cubicBezTo>
                    <a:pt x="250" y="628"/>
                    <a:pt x="250" y="628"/>
                    <a:pt x="250" y="628"/>
                  </a:cubicBezTo>
                  <a:cubicBezTo>
                    <a:pt x="250" y="628"/>
                    <a:pt x="250" y="628"/>
                    <a:pt x="250" y="628"/>
                  </a:cubicBezTo>
                  <a:cubicBezTo>
                    <a:pt x="242" y="628"/>
                    <a:pt x="234" y="628"/>
                    <a:pt x="226" y="628"/>
                  </a:cubicBezTo>
                  <a:cubicBezTo>
                    <a:pt x="222" y="628"/>
                    <a:pt x="214" y="627"/>
                    <a:pt x="214" y="623"/>
                  </a:cubicBezTo>
                  <a:cubicBezTo>
                    <a:pt x="214" y="622"/>
                    <a:pt x="214" y="622"/>
                    <a:pt x="214" y="621"/>
                  </a:cubicBezTo>
                  <a:cubicBezTo>
                    <a:pt x="214" y="619"/>
                    <a:pt x="216" y="617"/>
                    <a:pt x="217" y="616"/>
                  </a:cubicBezTo>
                  <a:cubicBezTo>
                    <a:pt x="220" y="612"/>
                    <a:pt x="222" y="607"/>
                    <a:pt x="226" y="603"/>
                  </a:cubicBezTo>
                  <a:cubicBezTo>
                    <a:pt x="226" y="602"/>
                    <a:pt x="226" y="602"/>
                    <a:pt x="226" y="602"/>
                  </a:cubicBezTo>
                  <a:cubicBezTo>
                    <a:pt x="227" y="602"/>
                    <a:pt x="227" y="602"/>
                    <a:pt x="227" y="602"/>
                  </a:cubicBezTo>
                  <a:cubicBezTo>
                    <a:pt x="236" y="593"/>
                    <a:pt x="255" y="595"/>
                    <a:pt x="267" y="595"/>
                  </a:cubicBezTo>
                  <a:cubicBezTo>
                    <a:pt x="273" y="595"/>
                    <a:pt x="279" y="594"/>
                    <a:pt x="284" y="597"/>
                  </a:cubicBezTo>
                  <a:cubicBezTo>
                    <a:pt x="284" y="597"/>
                    <a:pt x="284" y="597"/>
                    <a:pt x="284" y="597"/>
                  </a:cubicBezTo>
                  <a:cubicBezTo>
                    <a:pt x="285" y="597"/>
                    <a:pt x="285" y="597"/>
                    <a:pt x="286" y="597"/>
                  </a:cubicBezTo>
                  <a:cubicBezTo>
                    <a:pt x="286" y="597"/>
                    <a:pt x="286" y="598"/>
                    <a:pt x="286" y="598"/>
                  </a:cubicBezTo>
                  <a:cubicBezTo>
                    <a:pt x="287" y="598"/>
                    <a:pt x="288" y="599"/>
                    <a:pt x="288" y="600"/>
                  </a:cubicBezTo>
                  <a:cubicBezTo>
                    <a:pt x="288" y="601"/>
                    <a:pt x="288" y="602"/>
                    <a:pt x="287" y="603"/>
                  </a:cubicBezTo>
                  <a:cubicBezTo>
                    <a:pt x="287" y="604"/>
                    <a:pt x="287" y="604"/>
                    <a:pt x="287" y="604"/>
                  </a:cubicBezTo>
                  <a:cubicBezTo>
                    <a:pt x="286" y="607"/>
                    <a:pt x="284" y="610"/>
                    <a:pt x="283" y="612"/>
                  </a:cubicBezTo>
                  <a:close/>
                  <a:moveTo>
                    <a:pt x="360" y="627"/>
                  </a:moveTo>
                  <a:cubicBezTo>
                    <a:pt x="359" y="627"/>
                    <a:pt x="358" y="627"/>
                    <a:pt x="358" y="627"/>
                  </a:cubicBezTo>
                  <a:cubicBezTo>
                    <a:pt x="358" y="627"/>
                    <a:pt x="358" y="628"/>
                    <a:pt x="357" y="628"/>
                  </a:cubicBezTo>
                  <a:cubicBezTo>
                    <a:pt x="353" y="628"/>
                    <a:pt x="348" y="628"/>
                    <a:pt x="343" y="628"/>
                  </a:cubicBezTo>
                  <a:cubicBezTo>
                    <a:pt x="323" y="628"/>
                    <a:pt x="323" y="628"/>
                    <a:pt x="323" y="628"/>
                  </a:cubicBezTo>
                  <a:cubicBezTo>
                    <a:pt x="319" y="628"/>
                    <a:pt x="312" y="627"/>
                    <a:pt x="310" y="622"/>
                  </a:cubicBezTo>
                  <a:cubicBezTo>
                    <a:pt x="310" y="622"/>
                    <a:pt x="310" y="622"/>
                    <a:pt x="310" y="621"/>
                  </a:cubicBezTo>
                  <a:cubicBezTo>
                    <a:pt x="310" y="621"/>
                    <a:pt x="310" y="621"/>
                    <a:pt x="310" y="620"/>
                  </a:cubicBezTo>
                  <a:cubicBezTo>
                    <a:pt x="311" y="619"/>
                    <a:pt x="312" y="617"/>
                    <a:pt x="313" y="615"/>
                  </a:cubicBezTo>
                  <a:cubicBezTo>
                    <a:pt x="314" y="611"/>
                    <a:pt x="316" y="605"/>
                    <a:pt x="319" y="602"/>
                  </a:cubicBezTo>
                  <a:cubicBezTo>
                    <a:pt x="319" y="602"/>
                    <a:pt x="320" y="602"/>
                    <a:pt x="320" y="602"/>
                  </a:cubicBezTo>
                  <a:cubicBezTo>
                    <a:pt x="320" y="601"/>
                    <a:pt x="320" y="601"/>
                    <a:pt x="320" y="601"/>
                  </a:cubicBezTo>
                  <a:cubicBezTo>
                    <a:pt x="321" y="601"/>
                    <a:pt x="321" y="601"/>
                    <a:pt x="321" y="601"/>
                  </a:cubicBezTo>
                  <a:cubicBezTo>
                    <a:pt x="321" y="600"/>
                    <a:pt x="321" y="600"/>
                    <a:pt x="321" y="600"/>
                  </a:cubicBezTo>
                  <a:cubicBezTo>
                    <a:pt x="322" y="600"/>
                    <a:pt x="322" y="600"/>
                    <a:pt x="322" y="600"/>
                  </a:cubicBezTo>
                  <a:cubicBezTo>
                    <a:pt x="324" y="598"/>
                    <a:pt x="328" y="597"/>
                    <a:pt x="332" y="596"/>
                  </a:cubicBezTo>
                  <a:cubicBezTo>
                    <a:pt x="332" y="596"/>
                    <a:pt x="332" y="596"/>
                    <a:pt x="332" y="596"/>
                  </a:cubicBezTo>
                  <a:cubicBezTo>
                    <a:pt x="334" y="595"/>
                    <a:pt x="336" y="595"/>
                    <a:pt x="338" y="595"/>
                  </a:cubicBezTo>
                  <a:cubicBezTo>
                    <a:pt x="350" y="595"/>
                    <a:pt x="350" y="595"/>
                    <a:pt x="350" y="595"/>
                  </a:cubicBezTo>
                  <a:cubicBezTo>
                    <a:pt x="354" y="595"/>
                    <a:pt x="358" y="595"/>
                    <a:pt x="362" y="595"/>
                  </a:cubicBezTo>
                  <a:cubicBezTo>
                    <a:pt x="367" y="595"/>
                    <a:pt x="375" y="594"/>
                    <a:pt x="379" y="598"/>
                  </a:cubicBezTo>
                  <a:cubicBezTo>
                    <a:pt x="379" y="599"/>
                    <a:pt x="379" y="599"/>
                    <a:pt x="379" y="599"/>
                  </a:cubicBezTo>
                  <a:cubicBezTo>
                    <a:pt x="380" y="599"/>
                    <a:pt x="380" y="599"/>
                    <a:pt x="380" y="599"/>
                  </a:cubicBezTo>
                  <a:cubicBezTo>
                    <a:pt x="380" y="599"/>
                    <a:pt x="380" y="599"/>
                    <a:pt x="380" y="599"/>
                  </a:cubicBezTo>
                  <a:cubicBezTo>
                    <a:pt x="380" y="599"/>
                    <a:pt x="380" y="600"/>
                    <a:pt x="380" y="600"/>
                  </a:cubicBezTo>
                  <a:cubicBezTo>
                    <a:pt x="381" y="601"/>
                    <a:pt x="381" y="602"/>
                    <a:pt x="381" y="602"/>
                  </a:cubicBezTo>
                  <a:cubicBezTo>
                    <a:pt x="380" y="607"/>
                    <a:pt x="377" y="613"/>
                    <a:pt x="376" y="615"/>
                  </a:cubicBezTo>
                  <a:cubicBezTo>
                    <a:pt x="376" y="616"/>
                    <a:pt x="376" y="616"/>
                    <a:pt x="376" y="616"/>
                  </a:cubicBezTo>
                  <a:cubicBezTo>
                    <a:pt x="376" y="617"/>
                    <a:pt x="375" y="617"/>
                    <a:pt x="375" y="618"/>
                  </a:cubicBezTo>
                  <a:cubicBezTo>
                    <a:pt x="375" y="619"/>
                    <a:pt x="375" y="619"/>
                    <a:pt x="375" y="619"/>
                  </a:cubicBezTo>
                  <a:cubicBezTo>
                    <a:pt x="375" y="619"/>
                    <a:pt x="374" y="619"/>
                    <a:pt x="374" y="619"/>
                  </a:cubicBezTo>
                  <a:cubicBezTo>
                    <a:pt x="374" y="620"/>
                    <a:pt x="374" y="620"/>
                    <a:pt x="374" y="620"/>
                  </a:cubicBezTo>
                  <a:cubicBezTo>
                    <a:pt x="374" y="620"/>
                    <a:pt x="373" y="621"/>
                    <a:pt x="373" y="621"/>
                  </a:cubicBezTo>
                  <a:cubicBezTo>
                    <a:pt x="373" y="621"/>
                    <a:pt x="373" y="621"/>
                    <a:pt x="373" y="622"/>
                  </a:cubicBezTo>
                  <a:cubicBezTo>
                    <a:pt x="373" y="622"/>
                    <a:pt x="373" y="622"/>
                    <a:pt x="373" y="622"/>
                  </a:cubicBezTo>
                  <a:cubicBezTo>
                    <a:pt x="372" y="622"/>
                    <a:pt x="372" y="622"/>
                    <a:pt x="372" y="622"/>
                  </a:cubicBezTo>
                  <a:cubicBezTo>
                    <a:pt x="371" y="623"/>
                    <a:pt x="371" y="623"/>
                    <a:pt x="370" y="624"/>
                  </a:cubicBezTo>
                  <a:cubicBezTo>
                    <a:pt x="369" y="624"/>
                    <a:pt x="368" y="624"/>
                    <a:pt x="368" y="625"/>
                  </a:cubicBezTo>
                  <a:cubicBezTo>
                    <a:pt x="368" y="625"/>
                    <a:pt x="368" y="625"/>
                    <a:pt x="368" y="625"/>
                  </a:cubicBezTo>
                  <a:cubicBezTo>
                    <a:pt x="367" y="625"/>
                    <a:pt x="367" y="625"/>
                    <a:pt x="367" y="625"/>
                  </a:cubicBezTo>
                  <a:cubicBezTo>
                    <a:pt x="365" y="626"/>
                    <a:pt x="362" y="627"/>
                    <a:pt x="360" y="627"/>
                  </a:cubicBezTo>
                  <a:close/>
                  <a:moveTo>
                    <a:pt x="225" y="714"/>
                  </a:moveTo>
                  <a:cubicBezTo>
                    <a:pt x="225" y="714"/>
                    <a:pt x="225" y="714"/>
                    <a:pt x="225" y="714"/>
                  </a:cubicBezTo>
                  <a:cubicBezTo>
                    <a:pt x="224" y="719"/>
                    <a:pt x="221" y="723"/>
                    <a:pt x="218" y="728"/>
                  </a:cubicBezTo>
                  <a:cubicBezTo>
                    <a:pt x="218" y="728"/>
                    <a:pt x="218" y="728"/>
                    <a:pt x="218" y="728"/>
                  </a:cubicBezTo>
                  <a:cubicBezTo>
                    <a:pt x="216" y="732"/>
                    <a:pt x="213" y="738"/>
                    <a:pt x="210" y="742"/>
                  </a:cubicBezTo>
                  <a:cubicBezTo>
                    <a:pt x="209" y="743"/>
                    <a:pt x="209" y="743"/>
                    <a:pt x="209" y="744"/>
                  </a:cubicBezTo>
                  <a:cubicBezTo>
                    <a:pt x="208" y="744"/>
                    <a:pt x="208" y="744"/>
                    <a:pt x="208" y="744"/>
                  </a:cubicBezTo>
                  <a:cubicBezTo>
                    <a:pt x="208" y="744"/>
                    <a:pt x="208" y="745"/>
                    <a:pt x="207" y="745"/>
                  </a:cubicBezTo>
                  <a:cubicBezTo>
                    <a:pt x="207" y="746"/>
                    <a:pt x="207" y="746"/>
                    <a:pt x="206" y="746"/>
                  </a:cubicBezTo>
                  <a:cubicBezTo>
                    <a:pt x="206" y="746"/>
                    <a:pt x="206" y="746"/>
                    <a:pt x="206" y="746"/>
                  </a:cubicBezTo>
                  <a:cubicBezTo>
                    <a:pt x="203" y="749"/>
                    <a:pt x="198" y="751"/>
                    <a:pt x="193" y="753"/>
                  </a:cubicBezTo>
                  <a:cubicBezTo>
                    <a:pt x="193" y="753"/>
                    <a:pt x="192" y="753"/>
                    <a:pt x="191" y="754"/>
                  </a:cubicBezTo>
                  <a:cubicBezTo>
                    <a:pt x="188" y="754"/>
                    <a:pt x="185" y="754"/>
                    <a:pt x="183" y="754"/>
                  </a:cubicBezTo>
                  <a:cubicBezTo>
                    <a:pt x="180" y="754"/>
                    <a:pt x="180" y="754"/>
                    <a:pt x="180" y="754"/>
                  </a:cubicBezTo>
                  <a:cubicBezTo>
                    <a:pt x="180" y="754"/>
                    <a:pt x="180" y="754"/>
                    <a:pt x="180" y="754"/>
                  </a:cubicBezTo>
                  <a:cubicBezTo>
                    <a:pt x="168" y="754"/>
                    <a:pt x="156" y="755"/>
                    <a:pt x="144" y="755"/>
                  </a:cubicBezTo>
                  <a:cubicBezTo>
                    <a:pt x="142" y="755"/>
                    <a:pt x="141" y="754"/>
                    <a:pt x="141" y="754"/>
                  </a:cubicBezTo>
                  <a:cubicBezTo>
                    <a:pt x="139" y="754"/>
                    <a:pt x="137" y="754"/>
                    <a:pt x="136" y="754"/>
                  </a:cubicBezTo>
                  <a:cubicBezTo>
                    <a:pt x="134" y="753"/>
                    <a:pt x="132" y="752"/>
                    <a:pt x="131" y="751"/>
                  </a:cubicBezTo>
                  <a:cubicBezTo>
                    <a:pt x="130" y="749"/>
                    <a:pt x="130" y="748"/>
                    <a:pt x="130" y="746"/>
                  </a:cubicBezTo>
                  <a:cubicBezTo>
                    <a:pt x="130" y="745"/>
                    <a:pt x="130" y="743"/>
                    <a:pt x="131" y="742"/>
                  </a:cubicBezTo>
                  <a:cubicBezTo>
                    <a:pt x="131" y="742"/>
                    <a:pt x="131" y="742"/>
                    <a:pt x="131" y="742"/>
                  </a:cubicBezTo>
                  <a:cubicBezTo>
                    <a:pt x="131" y="741"/>
                    <a:pt x="131" y="741"/>
                    <a:pt x="132" y="741"/>
                  </a:cubicBezTo>
                  <a:cubicBezTo>
                    <a:pt x="132" y="740"/>
                    <a:pt x="132" y="740"/>
                    <a:pt x="132" y="740"/>
                  </a:cubicBezTo>
                  <a:cubicBezTo>
                    <a:pt x="132" y="740"/>
                    <a:pt x="132" y="740"/>
                    <a:pt x="132" y="740"/>
                  </a:cubicBezTo>
                  <a:cubicBezTo>
                    <a:pt x="135" y="736"/>
                    <a:pt x="139" y="731"/>
                    <a:pt x="142" y="726"/>
                  </a:cubicBezTo>
                  <a:cubicBezTo>
                    <a:pt x="144" y="723"/>
                    <a:pt x="146" y="718"/>
                    <a:pt x="149" y="716"/>
                  </a:cubicBezTo>
                  <a:cubicBezTo>
                    <a:pt x="150" y="715"/>
                    <a:pt x="150" y="715"/>
                    <a:pt x="150" y="714"/>
                  </a:cubicBezTo>
                  <a:cubicBezTo>
                    <a:pt x="151" y="714"/>
                    <a:pt x="151" y="714"/>
                    <a:pt x="151" y="714"/>
                  </a:cubicBezTo>
                  <a:cubicBezTo>
                    <a:pt x="151" y="713"/>
                    <a:pt x="152" y="713"/>
                    <a:pt x="153" y="712"/>
                  </a:cubicBezTo>
                  <a:cubicBezTo>
                    <a:pt x="153" y="712"/>
                    <a:pt x="153" y="712"/>
                    <a:pt x="153" y="712"/>
                  </a:cubicBezTo>
                  <a:cubicBezTo>
                    <a:pt x="153" y="712"/>
                    <a:pt x="153" y="712"/>
                    <a:pt x="153" y="712"/>
                  </a:cubicBezTo>
                  <a:cubicBezTo>
                    <a:pt x="157" y="709"/>
                    <a:pt x="162" y="707"/>
                    <a:pt x="167" y="706"/>
                  </a:cubicBezTo>
                  <a:cubicBezTo>
                    <a:pt x="167" y="706"/>
                    <a:pt x="167" y="706"/>
                    <a:pt x="167" y="706"/>
                  </a:cubicBezTo>
                  <a:cubicBezTo>
                    <a:pt x="168" y="706"/>
                    <a:pt x="168" y="706"/>
                    <a:pt x="168" y="706"/>
                  </a:cubicBezTo>
                  <a:cubicBezTo>
                    <a:pt x="169" y="706"/>
                    <a:pt x="170" y="706"/>
                    <a:pt x="171" y="705"/>
                  </a:cubicBezTo>
                  <a:cubicBezTo>
                    <a:pt x="171" y="705"/>
                    <a:pt x="172" y="705"/>
                    <a:pt x="172" y="705"/>
                  </a:cubicBezTo>
                  <a:cubicBezTo>
                    <a:pt x="173" y="705"/>
                    <a:pt x="174" y="705"/>
                    <a:pt x="175" y="705"/>
                  </a:cubicBezTo>
                  <a:cubicBezTo>
                    <a:pt x="175" y="705"/>
                    <a:pt x="175" y="705"/>
                    <a:pt x="176" y="705"/>
                  </a:cubicBezTo>
                  <a:cubicBezTo>
                    <a:pt x="176" y="705"/>
                    <a:pt x="176" y="705"/>
                    <a:pt x="176" y="705"/>
                  </a:cubicBezTo>
                  <a:cubicBezTo>
                    <a:pt x="176" y="705"/>
                    <a:pt x="176" y="705"/>
                    <a:pt x="176" y="705"/>
                  </a:cubicBezTo>
                  <a:cubicBezTo>
                    <a:pt x="188" y="705"/>
                    <a:pt x="198" y="705"/>
                    <a:pt x="210" y="705"/>
                  </a:cubicBezTo>
                  <a:cubicBezTo>
                    <a:pt x="210" y="705"/>
                    <a:pt x="210" y="705"/>
                    <a:pt x="210" y="705"/>
                  </a:cubicBezTo>
                  <a:cubicBezTo>
                    <a:pt x="211" y="705"/>
                    <a:pt x="211" y="705"/>
                    <a:pt x="211" y="705"/>
                  </a:cubicBezTo>
                  <a:cubicBezTo>
                    <a:pt x="214" y="705"/>
                    <a:pt x="217" y="705"/>
                    <a:pt x="219" y="706"/>
                  </a:cubicBezTo>
                  <a:cubicBezTo>
                    <a:pt x="219" y="706"/>
                    <a:pt x="220" y="706"/>
                    <a:pt x="220" y="706"/>
                  </a:cubicBezTo>
                  <a:cubicBezTo>
                    <a:pt x="220" y="706"/>
                    <a:pt x="221" y="706"/>
                    <a:pt x="221" y="706"/>
                  </a:cubicBezTo>
                  <a:cubicBezTo>
                    <a:pt x="221" y="707"/>
                    <a:pt x="221" y="707"/>
                    <a:pt x="221" y="707"/>
                  </a:cubicBezTo>
                  <a:cubicBezTo>
                    <a:pt x="224" y="708"/>
                    <a:pt x="226" y="711"/>
                    <a:pt x="225" y="714"/>
                  </a:cubicBezTo>
                  <a:close/>
                  <a:moveTo>
                    <a:pt x="248" y="674"/>
                  </a:moveTo>
                  <a:cubicBezTo>
                    <a:pt x="248" y="674"/>
                    <a:pt x="248" y="674"/>
                    <a:pt x="248" y="674"/>
                  </a:cubicBezTo>
                  <a:cubicBezTo>
                    <a:pt x="248" y="674"/>
                    <a:pt x="248" y="674"/>
                    <a:pt x="248" y="674"/>
                  </a:cubicBezTo>
                  <a:cubicBezTo>
                    <a:pt x="247" y="675"/>
                    <a:pt x="247" y="675"/>
                    <a:pt x="247" y="676"/>
                  </a:cubicBezTo>
                  <a:cubicBezTo>
                    <a:pt x="247" y="676"/>
                    <a:pt x="247" y="676"/>
                    <a:pt x="246" y="676"/>
                  </a:cubicBezTo>
                  <a:cubicBezTo>
                    <a:pt x="244" y="680"/>
                    <a:pt x="239" y="682"/>
                    <a:pt x="235" y="683"/>
                  </a:cubicBezTo>
                  <a:cubicBezTo>
                    <a:pt x="235" y="683"/>
                    <a:pt x="235" y="683"/>
                    <a:pt x="235" y="683"/>
                  </a:cubicBezTo>
                  <a:cubicBezTo>
                    <a:pt x="234" y="683"/>
                    <a:pt x="234" y="683"/>
                    <a:pt x="233" y="683"/>
                  </a:cubicBezTo>
                  <a:cubicBezTo>
                    <a:pt x="233" y="684"/>
                    <a:pt x="232" y="684"/>
                    <a:pt x="232" y="684"/>
                  </a:cubicBezTo>
                  <a:cubicBezTo>
                    <a:pt x="232" y="684"/>
                    <a:pt x="232" y="684"/>
                    <a:pt x="231" y="684"/>
                  </a:cubicBezTo>
                  <a:cubicBezTo>
                    <a:pt x="229" y="685"/>
                    <a:pt x="226" y="685"/>
                    <a:pt x="223" y="685"/>
                  </a:cubicBezTo>
                  <a:cubicBezTo>
                    <a:pt x="223" y="685"/>
                    <a:pt x="223" y="685"/>
                    <a:pt x="223" y="685"/>
                  </a:cubicBezTo>
                  <a:cubicBezTo>
                    <a:pt x="218" y="685"/>
                    <a:pt x="214" y="685"/>
                    <a:pt x="209" y="685"/>
                  </a:cubicBezTo>
                  <a:cubicBezTo>
                    <a:pt x="202" y="685"/>
                    <a:pt x="195" y="685"/>
                    <a:pt x="188" y="685"/>
                  </a:cubicBezTo>
                  <a:cubicBezTo>
                    <a:pt x="188" y="685"/>
                    <a:pt x="186" y="685"/>
                    <a:pt x="185" y="685"/>
                  </a:cubicBezTo>
                  <a:cubicBezTo>
                    <a:pt x="185" y="685"/>
                    <a:pt x="185" y="685"/>
                    <a:pt x="185" y="685"/>
                  </a:cubicBezTo>
                  <a:cubicBezTo>
                    <a:pt x="184" y="685"/>
                    <a:pt x="183" y="685"/>
                    <a:pt x="182" y="684"/>
                  </a:cubicBezTo>
                  <a:cubicBezTo>
                    <a:pt x="182" y="684"/>
                    <a:pt x="182" y="684"/>
                    <a:pt x="182" y="684"/>
                  </a:cubicBezTo>
                  <a:cubicBezTo>
                    <a:pt x="182" y="684"/>
                    <a:pt x="182" y="684"/>
                    <a:pt x="182" y="684"/>
                  </a:cubicBezTo>
                  <a:cubicBezTo>
                    <a:pt x="179" y="683"/>
                    <a:pt x="176" y="682"/>
                    <a:pt x="176" y="678"/>
                  </a:cubicBezTo>
                  <a:cubicBezTo>
                    <a:pt x="176" y="678"/>
                    <a:pt x="176" y="677"/>
                    <a:pt x="176" y="677"/>
                  </a:cubicBezTo>
                  <a:cubicBezTo>
                    <a:pt x="176" y="676"/>
                    <a:pt x="176" y="676"/>
                    <a:pt x="176" y="676"/>
                  </a:cubicBezTo>
                  <a:cubicBezTo>
                    <a:pt x="177" y="675"/>
                    <a:pt x="177" y="675"/>
                    <a:pt x="177" y="674"/>
                  </a:cubicBezTo>
                  <a:cubicBezTo>
                    <a:pt x="177" y="674"/>
                    <a:pt x="177" y="674"/>
                    <a:pt x="177" y="674"/>
                  </a:cubicBezTo>
                  <a:cubicBezTo>
                    <a:pt x="178" y="674"/>
                    <a:pt x="178" y="674"/>
                    <a:pt x="178" y="674"/>
                  </a:cubicBezTo>
                  <a:cubicBezTo>
                    <a:pt x="178" y="673"/>
                    <a:pt x="178" y="673"/>
                    <a:pt x="179" y="672"/>
                  </a:cubicBezTo>
                  <a:cubicBezTo>
                    <a:pt x="182" y="667"/>
                    <a:pt x="185" y="662"/>
                    <a:pt x="189" y="657"/>
                  </a:cubicBezTo>
                  <a:cubicBezTo>
                    <a:pt x="189" y="657"/>
                    <a:pt x="189" y="657"/>
                    <a:pt x="189" y="657"/>
                  </a:cubicBezTo>
                  <a:cubicBezTo>
                    <a:pt x="190" y="655"/>
                    <a:pt x="190" y="655"/>
                    <a:pt x="190" y="655"/>
                  </a:cubicBezTo>
                  <a:cubicBezTo>
                    <a:pt x="191" y="654"/>
                    <a:pt x="193" y="652"/>
                    <a:pt x="194" y="651"/>
                  </a:cubicBezTo>
                  <a:cubicBezTo>
                    <a:pt x="195" y="650"/>
                    <a:pt x="197" y="650"/>
                    <a:pt x="198" y="649"/>
                  </a:cubicBezTo>
                  <a:cubicBezTo>
                    <a:pt x="198" y="649"/>
                    <a:pt x="199" y="649"/>
                    <a:pt x="199" y="648"/>
                  </a:cubicBezTo>
                  <a:cubicBezTo>
                    <a:pt x="200" y="648"/>
                    <a:pt x="200" y="648"/>
                    <a:pt x="200" y="648"/>
                  </a:cubicBezTo>
                  <a:cubicBezTo>
                    <a:pt x="201" y="648"/>
                    <a:pt x="201" y="648"/>
                    <a:pt x="201" y="648"/>
                  </a:cubicBezTo>
                  <a:cubicBezTo>
                    <a:pt x="201" y="648"/>
                    <a:pt x="201" y="648"/>
                    <a:pt x="201" y="647"/>
                  </a:cubicBezTo>
                  <a:cubicBezTo>
                    <a:pt x="203" y="647"/>
                    <a:pt x="205" y="646"/>
                    <a:pt x="207" y="646"/>
                  </a:cubicBezTo>
                  <a:cubicBezTo>
                    <a:pt x="209" y="645"/>
                    <a:pt x="212" y="645"/>
                    <a:pt x="214" y="645"/>
                  </a:cubicBezTo>
                  <a:cubicBezTo>
                    <a:pt x="221" y="645"/>
                    <a:pt x="221" y="645"/>
                    <a:pt x="221" y="645"/>
                  </a:cubicBezTo>
                  <a:cubicBezTo>
                    <a:pt x="223" y="645"/>
                    <a:pt x="224" y="645"/>
                    <a:pt x="226" y="645"/>
                  </a:cubicBezTo>
                  <a:cubicBezTo>
                    <a:pt x="232" y="645"/>
                    <a:pt x="238" y="645"/>
                    <a:pt x="244" y="645"/>
                  </a:cubicBezTo>
                  <a:cubicBezTo>
                    <a:pt x="244" y="645"/>
                    <a:pt x="244" y="645"/>
                    <a:pt x="244" y="645"/>
                  </a:cubicBezTo>
                  <a:cubicBezTo>
                    <a:pt x="247" y="645"/>
                    <a:pt x="247" y="645"/>
                    <a:pt x="247" y="645"/>
                  </a:cubicBezTo>
                  <a:cubicBezTo>
                    <a:pt x="249" y="645"/>
                    <a:pt x="251" y="645"/>
                    <a:pt x="253" y="646"/>
                  </a:cubicBezTo>
                  <a:cubicBezTo>
                    <a:pt x="255" y="646"/>
                    <a:pt x="255" y="647"/>
                    <a:pt x="256" y="647"/>
                  </a:cubicBezTo>
                  <a:cubicBezTo>
                    <a:pt x="259" y="649"/>
                    <a:pt x="261" y="651"/>
                    <a:pt x="259" y="655"/>
                  </a:cubicBezTo>
                  <a:cubicBezTo>
                    <a:pt x="257" y="660"/>
                    <a:pt x="254" y="664"/>
                    <a:pt x="251" y="668"/>
                  </a:cubicBezTo>
                  <a:cubicBezTo>
                    <a:pt x="248" y="674"/>
                    <a:pt x="248" y="674"/>
                    <a:pt x="248" y="674"/>
                  </a:cubicBezTo>
                  <a:cubicBezTo>
                    <a:pt x="248" y="674"/>
                    <a:pt x="248" y="674"/>
                    <a:pt x="248" y="674"/>
                  </a:cubicBezTo>
                  <a:close/>
                  <a:moveTo>
                    <a:pt x="568" y="740"/>
                  </a:moveTo>
                  <a:cubicBezTo>
                    <a:pt x="568" y="741"/>
                    <a:pt x="568" y="741"/>
                    <a:pt x="568" y="742"/>
                  </a:cubicBezTo>
                  <a:cubicBezTo>
                    <a:pt x="568" y="743"/>
                    <a:pt x="568" y="743"/>
                    <a:pt x="568" y="743"/>
                  </a:cubicBezTo>
                  <a:cubicBezTo>
                    <a:pt x="567" y="743"/>
                    <a:pt x="567" y="744"/>
                    <a:pt x="567" y="745"/>
                  </a:cubicBezTo>
                  <a:cubicBezTo>
                    <a:pt x="567" y="745"/>
                    <a:pt x="567" y="745"/>
                    <a:pt x="567" y="745"/>
                  </a:cubicBezTo>
                  <a:cubicBezTo>
                    <a:pt x="567" y="745"/>
                    <a:pt x="567" y="745"/>
                    <a:pt x="567" y="745"/>
                  </a:cubicBezTo>
                  <a:cubicBezTo>
                    <a:pt x="566" y="746"/>
                    <a:pt x="566" y="747"/>
                    <a:pt x="565" y="747"/>
                  </a:cubicBezTo>
                  <a:cubicBezTo>
                    <a:pt x="565" y="747"/>
                    <a:pt x="565" y="747"/>
                    <a:pt x="565" y="747"/>
                  </a:cubicBezTo>
                  <a:cubicBezTo>
                    <a:pt x="564" y="748"/>
                    <a:pt x="564" y="749"/>
                    <a:pt x="563" y="749"/>
                  </a:cubicBezTo>
                  <a:cubicBezTo>
                    <a:pt x="562" y="749"/>
                    <a:pt x="562" y="749"/>
                    <a:pt x="562" y="749"/>
                  </a:cubicBezTo>
                  <a:cubicBezTo>
                    <a:pt x="562" y="750"/>
                    <a:pt x="562" y="750"/>
                    <a:pt x="562" y="750"/>
                  </a:cubicBezTo>
                  <a:cubicBezTo>
                    <a:pt x="561" y="750"/>
                    <a:pt x="560" y="751"/>
                    <a:pt x="559" y="751"/>
                  </a:cubicBezTo>
                  <a:cubicBezTo>
                    <a:pt x="559" y="751"/>
                    <a:pt x="559" y="751"/>
                    <a:pt x="559" y="751"/>
                  </a:cubicBezTo>
                  <a:cubicBezTo>
                    <a:pt x="559" y="751"/>
                    <a:pt x="558" y="752"/>
                    <a:pt x="557" y="752"/>
                  </a:cubicBezTo>
                  <a:cubicBezTo>
                    <a:pt x="557" y="752"/>
                    <a:pt x="556" y="752"/>
                    <a:pt x="556" y="752"/>
                  </a:cubicBezTo>
                  <a:cubicBezTo>
                    <a:pt x="556" y="752"/>
                    <a:pt x="556" y="752"/>
                    <a:pt x="556" y="752"/>
                  </a:cubicBezTo>
                  <a:cubicBezTo>
                    <a:pt x="556" y="752"/>
                    <a:pt x="555" y="752"/>
                    <a:pt x="555" y="753"/>
                  </a:cubicBezTo>
                  <a:cubicBezTo>
                    <a:pt x="554" y="753"/>
                    <a:pt x="554" y="753"/>
                    <a:pt x="553" y="753"/>
                  </a:cubicBezTo>
                  <a:cubicBezTo>
                    <a:pt x="552" y="753"/>
                    <a:pt x="551" y="753"/>
                    <a:pt x="551" y="753"/>
                  </a:cubicBezTo>
                  <a:cubicBezTo>
                    <a:pt x="550" y="754"/>
                    <a:pt x="549" y="754"/>
                    <a:pt x="548" y="754"/>
                  </a:cubicBezTo>
                  <a:cubicBezTo>
                    <a:pt x="548" y="754"/>
                    <a:pt x="548" y="754"/>
                    <a:pt x="547" y="754"/>
                  </a:cubicBezTo>
                  <a:cubicBezTo>
                    <a:pt x="546" y="754"/>
                    <a:pt x="546" y="754"/>
                    <a:pt x="546" y="754"/>
                  </a:cubicBezTo>
                  <a:cubicBezTo>
                    <a:pt x="546" y="754"/>
                    <a:pt x="546" y="754"/>
                    <a:pt x="546" y="754"/>
                  </a:cubicBezTo>
                  <a:cubicBezTo>
                    <a:pt x="542" y="754"/>
                    <a:pt x="538" y="754"/>
                    <a:pt x="533" y="754"/>
                  </a:cubicBezTo>
                  <a:cubicBezTo>
                    <a:pt x="513" y="754"/>
                    <a:pt x="282" y="754"/>
                    <a:pt x="265" y="754"/>
                  </a:cubicBezTo>
                  <a:cubicBezTo>
                    <a:pt x="264" y="754"/>
                    <a:pt x="263" y="754"/>
                    <a:pt x="262" y="754"/>
                  </a:cubicBezTo>
                  <a:cubicBezTo>
                    <a:pt x="260" y="754"/>
                    <a:pt x="259" y="754"/>
                    <a:pt x="257" y="753"/>
                  </a:cubicBezTo>
                  <a:cubicBezTo>
                    <a:pt x="255" y="753"/>
                    <a:pt x="254" y="751"/>
                    <a:pt x="252" y="750"/>
                  </a:cubicBezTo>
                  <a:cubicBezTo>
                    <a:pt x="251" y="749"/>
                    <a:pt x="250" y="748"/>
                    <a:pt x="250" y="746"/>
                  </a:cubicBezTo>
                  <a:cubicBezTo>
                    <a:pt x="250" y="744"/>
                    <a:pt x="250" y="743"/>
                    <a:pt x="251" y="741"/>
                  </a:cubicBezTo>
                  <a:cubicBezTo>
                    <a:pt x="252" y="740"/>
                    <a:pt x="252" y="740"/>
                    <a:pt x="252" y="740"/>
                  </a:cubicBezTo>
                  <a:cubicBezTo>
                    <a:pt x="252" y="740"/>
                    <a:pt x="252" y="740"/>
                    <a:pt x="252" y="740"/>
                  </a:cubicBezTo>
                  <a:cubicBezTo>
                    <a:pt x="254" y="734"/>
                    <a:pt x="257" y="729"/>
                    <a:pt x="259" y="723"/>
                  </a:cubicBezTo>
                  <a:cubicBezTo>
                    <a:pt x="260" y="723"/>
                    <a:pt x="260" y="722"/>
                    <a:pt x="261" y="721"/>
                  </a:cubicBezTo>
                  <a:cubicBezTo>
                    <a:pt x="263" y="717"/>
                    <a:pt x="263" y="717"/>
                    <a:pt x="263" y="717"/>
                  </a:cubicBezTo>
                  <a:cubicBezTo>
                    <a:pt x="263" y="715"/>
                    <a:pt x="265" y="713"/>
                    <a:pt x="267" y="712"/>
                  </a:cubicBezTo>
                  <a:cubicBezTo>
                    <a:pt x="267" y="712"/>
                    <a:pt x="268" y="711"/>
                    <a:pt x="268" y="711"/>
                  </a:cubicBezTo>
                  <a:cubicBezTo>
                    <a:pt x="268" y="711"/>
                    <a:pt x="268" y="711"/>
                    <a:pt x="269" y="711"/>
                  </a:cubicBezTo>
                  <a:cubicBezTo>
                    <a:pt x="269" y="710"/>
                    <a:pt x="269" y="710"/>
                    <a:pt x="270" y="710"/>
                  </a:cubicBezTo>
                  <a:cubicBezTo>
                    <a:pt x="270" y="710"/>
                    <a:pt x="270" y="710"/>
                    <a:pt x="270" y="710"/>
                  </a:cubicBezTo>
                  <a:cubicBezTo>
                    <a:pt x="270" y="709"/>
                    <a:pt x="270" y="709"/>
                    <a:pt x="271" y="709"/>
                  </a:cubicBezTo>
                  <a:cubicBezTo>
                    <a:pt x="271" y="709"/>
                    <a:pt x="272" y="708"/>
                    <a:pt x="273" y="708"/>
                  </a:cubicBezTo>
                  <a:cubicBezTo>
                    <a:pt x="273" y="708"/>
                    <a:pt x="273" y="708"/>
                    <a:pt x="274" y="708"/>
                  </a:cubicBezTo>
                  <a:cubicBezTo>
                    <a:pt x="274" y="708"/>
                    <a:pt x="275" y="707"/>
                    <a:pt x="275" y="707"/>
                  </a:cubicBezTo>
                  <a:cubicBezTo>
                    <a:pt x="276" y="707"/>
                    <a:pt x="277" y="706"/>
                    <a:pt x="278" y="706"/>
                  </a:cubicBezTo>
                  <a:cubicBezTo>
                    <a:pt x="278" y="706"/>
                    <a:pt x="279" y="706"/>
                    <a:pt x="280" y="706"/>
                  </a:cubicBezTo>
                  <a:cubicBezTo>
                    <a:pt x="280" y="706"/>
                    <a:pt x="280" y="706"/>
                    <a:pt x="280" y="706"/>
                  </a:cubicBezTo>
                  <a:cubicBezTo>
                    <a:pt x="283" y="705"/>
                    <a:pt x="286" y="705"/>
                    <a:pt x="288" y="705"/>
                  </a:cubicBezTo>
                  <a:cubicBezTo>
                    <a:pt x="288" y="705"/>
                    <a:pt x="531" y="704"/>
                    <a:pt x="540" y="704"/>
                  </a:cubicBezTo>
                  <a:cubicBezTo>
                    <a:pt x="543" y="704"/>
                    <a:pt x="546" y="704"/>
                    <a:pt x="549" y="704"/>
                  </a:cubicBezTo>
                  <a:cubicBezTo>
                    <a:pt x="550" y="704"/>
                    <a:pt x="551" y="704"/>
                    <a:pt x="552" y="704"/>
                  </a:cubicBezTo>
                  <a:cubicBezTo>
                    <a:pt x="553" y="704"/>
                    <a:pt x="553" y="704"/>
                    <a:pt x="553" y="704"/>
                  </a:cubicBezTo>
                  <a:cubicBezTo>
                    <a:pt x="554" y="704"/>
                    <a:pt x="555" y="704"/>
                    <a:pt x="556" y="705"/>
                  </a:cubicBezTo>
                  <a:cubicBezTo>
                    <a:pt x="556" y="705"/>
                    <a:pt x="556" y="705"/>
                    <a:pt x="556" y="705"/>
                  </a:cubicBezTo>
                  <a:cubicBezTo>
                    <a:pt x="556" y="705"/>
                    <a:pt x="556" y="705"/>
                    <a:pt x="556" y="705"/>
                  </a:cubicBezTo>
                  <a:cubicBezTo>
                    <a:pt x="557" y="705"/>
                    <a:pt x="558" y="706"/>
                    <a:pt x="559" y="706"/>
                  </a:cubicBezTo>
                  <a:cubicBezTo>
                    <a:pt x="559" y="706"/>
                    <a:pt x="559" y="706"/>
                    <a:pt x="559" y="706"/>
                  </a:cubicBezTo>
                  <a:cubicBezTo>
                    <a:pt x="560" y="706"/>
                    <a:pt x="561" y="707"/>
                    <a:pt x="562" y="707"/>
                  </a:cubicBezTo>
                  <a:cubicBezTo>
                    <a:pt x="562" y="707"/>
                    <a:pt x="562" y="707"/>
                    <a:pt x="562" y="707"/>
                  </a:cubicBezTo>
                  <a:cubicBezTo>
                    <a:pt x="562" y="708"/>
                    <a:pt x="562" y="708"/>
                    <a:pt x="562" y="708"/>
                  </a:cubicBezTo>
                  <a:cubicBezTo>
                    <a:pt x="563" y="708"/>
                    <a:pt x="564" y="708"/>
                    <a:pt x="564" y="709"/>
                  </a:cubicBezTo>
                  <a:cubicBezTo>
                    <a:pt x="565" y="709"/>
                    <a:pt x="566" y="710"/>
                    <a:pt x="567" y="711"/>
                  </a:cubicBezTo>
                  <a:cubicBezTo>
                    <a:pt x="567" y="713"/>
                    <a:pt x="568" y="714"/>
                    <a:pt x="568" y="716"/>
                  </a:cubicBezTo>
                  <a:cubicBezTo>
                    <a:pt x="568" y="717"/>
                    <a:pt x="568" y="717"/>
                    <a:pt x="568" y="717"/>
                  </a:cubicBezTo>
                  <a:cubicBezTo>
                    <a:pt x="568" y="717"/>
                    <a:pt x="568" y="717"/>
                    <a:pt x="568" y="717"/>
                  </a:cubicBezTo>
                  <a:cubicBezTo>
                    <a:pt x="568" y="723"/>
                    <a:pt x="568" y="729"/>
                    <a:pt x="568" y="735"/>
                  </a:cubicBezTo>
                  <a:cubicBezTo>
                    <a:pt x="568" y="737"/>
                    <a:pt x="569" y="738"/>
                    <a:pt x="568" y="740"/>
                  </a:cubicBezTo>
                  <a:close/>
                  <a:moveTo>
                    <a:pt x="601" y="622"/>
                  </a:moveTo>
                  <a:cubicBezTo>
                    <a:pt x="601" y="622"/>
                    <a:pt x="601" y="622"/>
                    <a:pt x="601" y="622"/>
                  </a:cubicBezTo>
                  <a:cubicBezTo>
                    <a:pt x="601" y="622"/>
                    <a:pt x="600" y="622"/>
                    <a:pt x="600" y="622"/>
                  </a:cubicBezTo>
                  <a:cubicBezTo>
                    <a:pt x="600" y="621"/>
                    <a:pt x="599" y="619"/>
                    <a:pt x="599" y="618"/>
                  </a:cubicBezTo>
                  <a:cubicBezTo>
                    <a:pt x="599" y="617"/>
                    <a:pt x="599" y="617"/>
                    <a:pt x="599" y="617"/>
                  </a:cubicBezTo>
                  <a:cubicBezTo>
                    <a:pt x="599" y="616"/>
                    <a:pt x="599" y="615"/>
                    <a:pt x="599" y="614"/>
                  </a:cubicBezTo>
                  <a:cubicBezTo>
                    <a:pt x="599" y="614"/>
                    <a:pt x="599" y="614"/>
                    <a:pt x="599" y="614"/>
                  </a:cubicBezTo>
                  <a:cubicBezTo>
                    <a:pt x="598" y="611"/>
                    <a:pt x="598" y="607"/>
                    <a:pt x="598" y="604"/>
                  </a:cubicBezTo>
                  <a:cubicBezTo>
                    <a:pt x="598" y="603"/>
                    <a:pt x="598" y="603"/>
                    <a:pt x="598" y="603"/>
                  </a:cubicBezTo>
                  <a:cubicBezTo>
                    <a:pt x="598" y="602"/>
                    <a:pt x="598" y="600"/>
                    <a:pt x="599" y="599"/>
                  </a:cubicBezTo>
                  <a:cubicBezTo>
                    <a:pt x="600" y="599"/>
                    <a:pt x="600" y="598"/>
                    <a:pt x="602" y="597"/>
                  </a:cubicBezTo>
                  <a:cubicBezTo>
                    <a:pt x="603" y="596"/>
                    <a:pt x="605" y="596"/>
                    <a:pt x="607" y="595"/>
                  </a:cubicBezTo>
                  <a:cubicBezTo>
                    <a:pt x="607" y="595"/>
                    <a:pt x="607" y="595"/>
                    <a:pt x="607" y="595"/>
                  </a:cubicBezTo>
                  <a:cubicBezTo>
                    <a:pt x="607" y="595"/>
                    <a:pt x="607" y="595"/>
                    <a:pt x="607" y="595"/>
                  </a:cubicBezTo>
                  <a:cubicBezTo>
                    <a:pt x="608" y="595"/>
                    <a:pt x="609" y="595"/>
                    <a:pt x="609" y="595"/>
                  </a:cubicBezTo>
                  <a:cubicBezTo>
                    <a:pt x="610" y="595"/>
                    <a:pt x="610" y="595"/>
                    <a:pt x="610" y="595"/>
                  </a:cubicBezTo>
                  <a:cubicBezTo>
                    <a:pt x="613" y="594"/>
                    <a:pt x="617" y="594"/>
                    <a:pt x="620" y="594"/>
                  </a:cubicBezTo>
                  <a:cubicBezTo>
                    <a:pt x="642" y="594"/>
                    <a:pt x="642" y="594"/>
                    <a:pt x="642" y="594"/>
                  </a:cubicBezTo>
                  <a:cubicBezTo>
                    <a:pt x="644" y="594"/>
                    <a:pt x="645" y="594"/>
                    <a:pt x="646" y="595"/>
                  </a:cubicBezTo>
                  <a:cubicBezTo>
                    <a:pt x="652" y="595"/>
                    <a:pt x="659" y="597"/>
                    <a:pt x="659" y="602"/>
                  </a:cubicBezTo>
                  <a:cubicBezTo>
                    <a:pt x="661" y="607"/>
                    <a:pt x="662" y="612"/>
                    <a:pt x="662" y="617"/>
                  </a:cubicBezTo>
                  <a:cubicBezTo>
                    <a:pt x="663" y="618"/>
                    <a:pt x="663" y="618"/>
                    <a:pt x="663" y="618"/>
                  </a:cubicBezTo>
                  <a:cubicBezTo>
                    <a:pt x="663" y="619"/>
                    <a:pt x="663" y="620"/>
                    <a:pt x="662" y="621"/>
                  </a:cubicBezTo>
                  <a:cubicBezTo>
                    <a:pt x="662" y="621"/>
                    <a:pt x="662" y="622"/>
                    <a:pt x="662" y="622"/>
                  </a:cubicBezTo>
                  <a:cubicBezTo>
                    <a:pt x="662" y="622"/>
                    <a:pt x="662" y="622"/>
                    <a:pt x="662" y="622"/>
                  </a:cubicBezTo>
                  <a:cubicBezTo>
                    <a:pt x="662" y="622"/>
                    <a:pt x="662" y="622"/>
                    <a:pt x="662" y="622"/>
                  </a:cubicBezTo>
                  <a:cubicBezTo>
                    <a:pt x="661" y="624"/>
                    <a:pt x="658" y="625"/>
                    <a:pt x="655" y="626"/>
                  </a:cubicBezTo>
                  <a:cubicBezTo>
                    <a:pt x="654" y="626"/>
                    <a:pt x="654" y="626"/>
                    <a:pt x="654" y="626"/>
                  </a:cubicBezTo>
                  <a:cubicBezTo>
                    <a:pt x="654" y="627"/>
                    <a:pt x="654" y="627"/>
                    <a:pt x="653" y="627"/>
                  </a:cubicBezTo>
                  <a:cubicBezTo>
                    <a:pt x="653" y="627"/>
                    <a:pt x="653" y="627"/>
                    <a:pt x="652" y="627"/>
                  </a:cubicBezTo>
                  <a:cubicBezTo>
                    <a:pt x="652" y="627"/>
                    <a:pt x="651" y="627"/>
                    <a:pt x="651" y="627"/>
                  </a:cubicBezTo>
                  <a:cubicBezTo>
                    <a:pt x="643" y="628"/>
                    <a:pt x="634" y="627"/>
                    <a:pt x="631" y="627"/>
                  </a:cubicBezTo>
                  <a:cubicBezTo>
                    <a:pt x="616" y="627"/>
                    <a:pt x="616" y="627"/>
                    <a:pt x="616" y="627"/>
                  </a:cubicBezTo>
                  <a:cubicBezTo>
                    <a:pt x="615" y="627"/>
                    <a:pt x="614" y="627"/>
                    <a:pt x="613" y="627"/>
                  </a:cubicBezTo>
                  <a:cubicBezTo>
                    <a:pt x="612" y="627"/>
                    <a:pt x="611" y="627"/>
                    <a:pt x="610" y="627"/>
                  </a:cubicBezTo>
                  <a:cubicBezTo>
                    <a:pt x="610" y="627"/>
                    <a:pt x="610" y="627"/>
                    <a:pt x="610" y="627"/>
                  </a:cubicBezTo>
                  <a:cubicBezTo>
                    <a:pt x="610" y="627"/>
                    <a:pt x="610" y="627"/>
                    <a:pt x="610" y="627"/>
                  </a:cubicBezTo>
                  <a:cubicBezTo>
                    <a:pt x="609" y="626"/>
                    <a:pt x="608" y="626"/>
                    <a:pt x="607" y="626"/>
                  </a:cubicBezTo>
                  <a:cubicBezTo>
                    <a:pt x="607" y="626"/>
                    <a:pt x="607" y="625"/>
                    <a:pt x="606" y="625"/>
                  </a:cubicBezTo>
                  <a:cubicBezTo>
                    <a:pt x="605" y="625"/>
                    <a:pt x="605" y="625"/>
                    <a:pt x="604" y="624"/>
                  </a:cubicBezTo>
                  <a:cubicBezTo>
                    <a:pt x="603" y="624"/>
                    <a:pt x="603" y="623"/>
                    <a:pt x="602" y="623"/>
                  </a:cubicBezTo>
                  <a:cubicBezTo>
                    <a:pt x="601" y="622"/>
                    <a:pt x="601" y="622"/>
                    <a:pt x="601" y="622"/>
                  </a:cubicBezTo>
                  <a:close/>
                  <a:moveTo>
                    <a:pt x="605" y="678"/>
                  </a:moveTo>
                  <a:cubicBezTo>
                    <a:pt x="604" y="676"/>
                    <a:pt x="603" y="675"/>
                    <a:pt x="603" y="673"/>
                  </a:cubicBezTo>
                  <a:cubicBezTo>
                    <a:pt x="603" y="671"/>
                    <a:pt x="603" y="671"/>
                    <a:pt x="603" y="671"/>
                  </a:cubicBezTo>
                  <a:cubicBezTo>
                    <a:pt x="603" y="671"/>
                    <a:pt x="603" y="671"/>
                    <a:pt x="603" y="671"/>
                  </a:cubicBezTo>
                  <a:cubicBezTo>
                    <a:pt x="603" y="665"/>
                    <a:pt x="602" y="660"/>
                    <a:pt x="602" y="655"/>
                  </a:cubicBezTo>
                  <a:cubicBezTo>
                    <a:pt x="602" y="655"/>
                    <a:pt x="602" y="655"/>
                    <a:pt x="602" y="655"/>
                  </a:cubicBezTo>
                  <a:cubicBezTo>
                    <a:pt x="602" y="654"/>
                    <a:pt x="602" y="654"/>
                    <a:pt x="602" y="654"/>
                  </a:cubicBezTo>
                  <a:cubicBezTo>
                    <a:pt x="602" y="654"/>
                    <a:pt x="602" y="653"/>
                    <a:pt x="602" y="653"/>
                  </a:cubicBezTo>
                  <a:cubicBezTo>
                    <a:pt x="603" y="641"/>
                    <a:pt x="628" y="644"/>
                    <a:pt x="636" y="644"/>
                  </a:cubicBezTo>
                  <a:cubicBezTo>
                    <a:pt x="645" y="644"/>
                    <a:pt x="663" y="642"/>
                    <a:pt x="669" y="651"/>
                  </a:cubicBezTo>
                  <a:cubicBezTo>
                    <a:pt x="669" y="652"/>
                    <a:pt x="670" y="653"/>
                    <a:pt x="670" y="654"/>
                  </a:cubicBezTo>
                  <a:cubicBezTo>
                    <a:pt x="670" y="655"/>
                    <a:pt x="670" y="655"/>
                    <a:pt x="670" y="655"/>
                  </a:cubicBezTo>
                  <a:cubicBezTo>
                    <a:pt x="670" y="655"/>
                    <a:pt x="670" y="655"/>
                    <a:pt x="670" y="655"/>
                  </a:cubicBezTo>
                  <a:cubicBezTo>
                    <a:pt x="671" y="658"/>
                    <a:pt x="671" y="660"/>
                    <a:pt x="672" y="663"/>
                  </a:cubicBezTo>
                  <a:cubicBezTo>
                    <a:pt x="674" y="673"/>
                    <a:pt x="674" y="673"/>
                    <a:pt x="674" y="673"/>
                  </a:cubicBezTo>
                  <a:cubicBezTo>
                    <a:pt x="674" y="675"/>
                    <a:pt x="674" y="676"/>
                    <a:pt x="673" y="677"/>
                  </a:cubicBezTo>
                  <a:cubicBezTo>
                    <a:pt x="673" y="678"/>
                    <a:pt x="672" y="679"/>
                    <a:pt x="671" y="680"/>
                  </a:cubicBezTo>
                  <a:cubicBezTo>
                    <a:pt x="671" y="680"/>
                    <a:pt x="671" y="680"/>
                    <a:pt x="670" y="680"/>
                  </a:cubicBezTo>
                  <a:cubicBezTo>
                    <a:pt x="670" y="680"/>
                    <a:pt x="670" y="680"/>
                    <a:pt x="670" y="681"/>
                  </a:cubicBezTo>
                  <a:cubicBezTo>
                    <a:pt x="670" y="681"/>
                    <a:pt x="670" y="681"/>
                    <a:pt x="670" y="681"/>
                  </a:cubicBezTo>
                  <a:cubicBezTo>
                    <a:pt x="669" y="681"/>
                    <a:pt x="669" y="681"/>
                    <a:pt x="668" y="682"/>
                  </a:cubicBezTo>
                  <a:cubicBezTo>
                    <a:pt x="667" y="682"/>
                    <a:pt x="667" y="682"/>
                    <a:pt x="667" y="683"/>
                  </a:cubicBezTo>
                  <a:cubicBezTo>
                    <a:pt x="666" y="683"/>
                    <a:pt x="666" y="683"/>
                    <a:pt x="666" y="683"/>
                  </a:cubicBezTo>
                  <a:cubicBezTo>
                    <a:pt x="665" y="683"/>
                    <a:pt x="665" y="683"/>
                    <a:pt x="665" y="683"/>
                  </a:cubicBezTo>
                  <a:cubicBezTo>
                    <a:pt x="664" y="683"/>
                    <a:pt x="664" y="683"/>
                    <a:pt x="663" y="683"/>
                  </a:cubicBezTo>
                  <a:cubicBezTo>
                    <a:pt x="663" y="683"/>
                    <a:pt x="663" y="683"/>
                    <a:pt x="663" y="683"/>
                  </a:cubicBezTo>
                  <a:cubicBezTo>
                    <a:pt x="662" y="683"/>
                    <a:pt x="661" y="684"/>
                    <a:pt x="660" y="684"/>
                  </a:cubicBezTo>
                  <a:cubicBezTo>
                    <a:pt x="659" y="684"/>
                    <a:pt x="658" y="684"/>
                    <a:pt x="657" y="684"/>
                  </a:cubicBezTo>
                  <a:cubicBezTo>
                    <a:pt x="657" y="684"/>
                    <a:pt x="657" y="684"/>
                    <a:pt x="657" y="684"/>
                  </a:cubicBezTo>
                  <a:cubicBezTo>
                    <a:pt x="657" y="684"/>
                    <a:pt x="657" y="684"/>
                    <a:pt x="657" y="684"/>
                  </a:cubicBezTo>
                  <a:cubicBezTo>
                    <a:pt x="657" y="684"/>
                    <a:pt x="657" y="684"/>
                    <a:pt x="657" y="684"/>
                  </a:cubicBezTo>
                  <a:cubicBezTo>
                    <a:pt x="646" y="684"/>
                    <a:pt x="634" y="684"/>
                    <a:pt x="623" y="684"/>
                  </a:cubicBezTo>
                  <a:cubicBezTo>
                    <a:pt x="621" y="684"/>
                    <a:pt x="620" y="684"/>
                    <a:pt x="619" y="684"/>
                  </a:cubicBezTo>
                  <a:cubicBezTo>
                    <a:pt x="619" y="684"/>
                    <a:pt x="618" y="684"/>
                    <a:pt x="618" y="684"/>
                  </a:cubicBezTo>
                  <a:cubicBezTo>
                    <a:pt x="617" y="683"/>
                    <a:pt x="616" y="683"/>
                    <a:pt x="616" y="683"/>
                  </a:cubicBezTo>
                  <a:cubicBezTo>
                    <a:pt x="616" y="683"/>
                    <a:pt x="616" y="683"/>
                    <a:pt x="616" y="683"/>
                  </a:cubicBezTo>
                  <a:cubicBezTo>
                    <a:pt x="615" y="683"/>
                    <a:pt x="615" y="683"/>
                    <a:pt x="615" y="683"/>
                  </a:cubicBezTo>
                  <a:cubicBezTo>
                    <a:pt x="614" y="683"/>
                    <a:pt x="613" y="683"/>
                    <a:pt x="612" y="682"/>
                  </a:cubicBezTo>
                  <a:cubicBezTo>
                    <a:pt x="612" y="682"/>
                    <a:pt x="611" y="682"/>
                    <a:pt x="611" y="682"/>
                  </a:cubicBezTo>
                  <a:cubicBezTo>
                    <a:pt x="610" y="682"/>
                    <a:pt x="610" y="681"/>
                    <a:pt x="610" y="681"/>
                  </a:cubicBezTo>
                  <a:cubicBezTo>
                    <a:pt x="609" y="681"/>
                    <a:pt x="609" y="681"/>
                    <a:pt x="609" y="681"/>
                  </a:cubicBezTo>
                  <a:cubicBezTo>
                    <a:pt x="608" y="680"/>
                    <a:pt x="606" y="679"/>
                    <a:pt x="605" y="678"/>
                  </a:cubicBezTo>
                  <a:close/>
                  <a:moveTo>
                    <a:pt x="687" y="745"/>
                  </a:moveTo>
                  <a:cubicBezTo>
                    <a:pt x="686" y="746"/>
                    <a:pt x="685" y="748"/>
                    <a:pt x="683" y="749"/>
                  </a:cubicBezTo>
                  <a:cubicBezTo>
                    <a:pt x="681" y="750"/>
                    <a:pt x="680" y="751"/>
                    <a:pt x="677" y="752"/>
                  </a:cubicBezTo>
                  <a:cubicBezTo>
                    <a:pt x="675" y="753"/>
                    <a:pt x="672" y="753"/>
                    <a:pt x="669" y="753"/>
                  </a:cubicBezTo>
                  <a:cubicBezTo>
                    <a:pt x="662" y="753"/>
                    <a:pt x="662" y="753"/>
                    <a:pt x="662" y="753"/>
                  </a:cubicBezTo>
                  <a:cubicBezTo>
                    <a:pt x="661" y="753"/>
                    <a:pt x="661" y="753"/>
                    <a:pt x="661" y="753"/>
                  </a:cubicBezTo>
                  <a:cubicBezTo>
                    <a:pt x="651" y="753"/>
                    <a:pt x="641" y="753"/>
                    <a:pt x="630" y="753"/>
                  </a:cubicBezTo>
                  <a:cubicBezTo>
                    <a:pt x="629" y="753"/>
                    <a:pt x="628" y="753"/>
                    <a:pt x="626" y="753"/>
                  </a:cubicBezTo>
                  <a:cubicBezTo>
                    <a:pt x="626" y="753"/>
                    <a:pt x="626" y="753"/>
                    <a:pt x="626" y="753"/>
                  </a:cubicBezTo>
                  <a:cubicBezTo>
                    <a:pt x="624" y="753"/>
                    <a:pt x="623" y="753"/>
                    <a:pt x="622" y="752"/>
                  </a:cubicBezTo>
                  <a:cubicBezTo>
                    <a:pt x="622" y="752"/>
                    <a:pt x="622" y="752"/>
                    <a:pt x="622" y="752"/>
                  </a:cubicBezTo>
                  <a:cubicBezTo>
                    <a:pt x="622" y="752"/>
                    <a:pt x="622" y="752"/>
                    <a:pt x="622" y="752"/>
                  </a:cubicBezTo>
                  <a:cubicBezTo>
                    <a:pt x="617" y="751"/>
                    <a:pt x="613" y="749"/>
                    <a:pt x="610" y="745"/>
                  </a:cubicBezTo>
                  <a:cubicBezTo>
                    <a:pt x="610" y="745"/>
                    <a:pt x="610" y="745"/>
                    <a:pt x="610" y="745"/>
                  </a:cubicBezTo>
                  <a:cubicBezTo>
                    <a:pt x="610" y="745"/>
                    <a:pt x="610" y="745"/>
                    <a:pt x="610" y="745"/>
                  </a:cubicBezTo>
                  <a:cubicBezTo>
                    <a:pt x="610" y="744"/>
                    <a:pt x="609" y="743"/>
                    <a:pt x="609" y="743"/>
                  </a:cubicBezTo>
                  <a:cubicBezTo>
                    <a:pt x="609" y="742"/>
                    <a:pt x="609" y="742"/>
                    <a:pt x="609" y="741"/>
                  </a:cubicBezTo>
                  <a:cubicBezTo>
                    <a:pt x="608" y="741"/>
                    <a:pt x="608" y="741"/>
                    <a:pt x="608" y="740"/>
                  </a:cubicBezTo>
                  <a:cubicBezTo>
                    <a:pt x="608" y="740"/>
                    <a:pt x="608" y="740"/>
                    <a:pt x="608" y="740"/>
                  </a:cubicBezTo>
                  <a:cubicBezTo>
                    <a:pt x="608" y="739"/>
                    <a:pt x="608" y="739"/>
                    <a:pt x="608" y="739"/>
                  </a:cubicBezTo>
                  <a:cubicBezTo>
                    <a:pt x="608" y="739"/>
                    <a:pt x="608" y="739"/>
                    <a:pt x="608" y="739"/>
                  </a:cubicBezTo>
                  <a:cubicBezTo>
                    <a:pt x="608" y="733"/>
                    <a:pt x="607" y="728"/>
                    <a:pt x="607" y="722"/>
                  </a:cubicBezTo>
                  <a:cubicBezTo>
                    <a:pt x="607" y="721"/>
                    <a:pt x="607" y="720"/>
                    <a:pt x="607" y="719"/>
                  </a:cubicBezTo>
                  <a:cubicBezTo>
                    <a:pt x="606" y="716"/>
                    <a:pt x="606" y="716"/>
                    <a:pt x="606" y="716"/>
                  </a:cubicBezTo>
                  <a:cubicBezTo>
                    <a:pt x="606" y="716"/>
                    <a:pt x="606" y="716"/>
                    <a:pt x="606" y="716"/>
                  </a:cubicBezTo>
                  <a:cubicBezTo>
                    <a:pt x="606" y="715"/>
                    <a:pt x="606" y="714"/>
                    <a:pt x="607" y="714"/>
                  </a:cubicBezTo>
                  <a:cubicBezTo>
                    <a:pt x="607" y="713"/>
                    <a:pt x="607" y="713"/>
                    <a:pt x="607" y="713"/>
                  </a:cubicBezTo>
                  <a:cubicBezTo>
                    <a:pt x="607" y="713"/>
                    <a:pt x="607" y="712"/>
                    <a:pt x="607" y="712"/>
                  </a:cubicBezTo>
                  <a:cubicBezTo>
                    <a:pt x="608" y="711"/>
                    <a:pt x="608" y="711"/>
                    <a:pt x="608" y="711"/>
                  </a:cubicBezTo>
                  <a:cubicBezTo>
                    <a:pt x="608" y="711"/>
                    <a:pt x="608" y="711"/>
                    <a:pt x="608" y="711"/>
                  </a:cubicBezTo>
                  <a:cubicBezTo>
                    <a:pt x="608" y="710"/>
                    <a:pt x="608" y="710"/>
                    <a:pt x="609" y="709"/>
                  </a:cubicBezTo>
                  <a:cubicBezTo>
                    <a:pt x="609" y="709"/>
                    <a:pt x="610" y="709"/>
                    <a:pt x="610" y="708"/>
                  </a:cubicBezTo>
                  <a:cubicBezTo>
                    <a:pt x="610" y="708"/>
                    <a:pt x="610" y="708"/>
                    <a:pt x="611" y="708"/>
                  </a:cubicBezTo>
                  <a:cubicBezTo>
                    <a:pt x="611" y="708"/>
                    <a:pt x="611" y="707"/>
                    <a:pt x="611" y="707"/>
                  </a:cubicBezTo>
                  <a:cubicBezTo>
                    <a:pt x="612" y="707"/>
                    <a:pt x="612" y="707"/>
                    <a:pt x="612" y="707"/>
                  </a:cubicBezTo>
                  <a:cubicBezTo>
                    <a:pt x="613" y="707"/>
                    <a:pt x="613" y="706"/>
                    <a:pt x="614" y="706"/>
                  </a:cubicBezTo>
                  <a:cubicBezTo>
                    <a:pt x="614" y="706"/>
                    <a:pt x="614" y="706"/>
                    <a:pt x="614" y="706"/>
                  </a:cubicBezTo>
                  <a:cubicBezTo>
                    <a:pt x="615" y="706"/>
                    <a:pt x="615" y="706"/>
                    <a:pt x="615" y="706"/>
                  </a:cubicBezTo>
                  <a:cubicBezTo>
                    <a:pt x="615" y="706"/>
                    <a:pt x="615" y="706"/>
                    <a:pt x="616" y="705"/>
                  </a:cubicBezTo>
                  <a:cubicBezTo>
                    <a:pt x="616" y="705"/>
                    <a:pt x="617" y="705"/>
                    <a:pt x="617" y="705"/>
                  </a:cubicBezTo>
                  <a:cubicBezTo>
                    <a:pt x="618" y="705"/>
                    <a:pt x="618" y="704"/>
                    <a:pt x="618" y="704"/>
                  </a:cubicBezTo>
                  <a:cubicBezTo>
                    <a:pt x="619" y="704"/>
                    <a:pt x="619" y="704"/>
                    <a:pt x="619" y="704"/>
                  </a:cubicBezTo>
                  <a:cubicBezTo>
                    <a:pt x="621" y="704"/>
                    <a:pt x="622" y="704"/>
                    <a:pt x="623" y="704"/>
                  </a:cubicBezTo>
                  <a:cubicBezTo>
                    <a:pt x="623" y="704"/>
                    <a:pt x="623" y="704"/>
                    <a:pt x="623" y="704"/>
                  </a:cubicBezTo>
                  <a:cubicBezTo>
                    <a:pt x="624" y="704"/>
                    <a:pt x="624" y="704"/>
                    <a:pt x="625" y="704"/>
                  </a:cubicBezTo>
                  <a:cubicBezTo>
                    <a:pt x="626" y="704"/>
                    <a:pt x="626" y="704"/>
                    <a:pt x="626" y="704"/>
                  </a:cubicBezTo>
                  <a:cubicBezTo>
                    <a:pt x="628" y="703"/>
                    <a:pt x="630" y="703"/>
                    <a:pt x="632" y="703"/>
                  </a:cubicBezTo>
                  <a:cubicBezTo>
                    <a:pt x="634" y="703"/>
                    <a:pt x="635" y="703"/>
                    <a:pt x="636" y="703"/>
                  </a:cubicBezTo>
                  <a:cubicBezTo>
                    <a:pt x="652" y="703"/>
                    <a:pt x="652" y="703"/>
                    <a:pt x="652" y="703"/>
                  </a:cubicBezTo>
                  <a:cubicBezTo>
                    <a:pt x="656" y="703"/>
                    <a:pt x="660" y="703"/>
                    <a:pt x="664" y="704"/>
                  </a:cubicBezTo>
                  <a:cubicBezTo>
                    <a:pt x="665" y="704"/>
                    <a:pt x="665" y="704"/>
                    <a:pt x="666" y="704"/>
                  </a:cubicBezTo>
                  <a:cubicBezTo>
                    <a:pt x="666" y="704"/>
                    <a:pt x="667" y="704"/>
                    <a:pt x="667" y="704"/>
                  </a:cubicBezTo>
                  <a:cubicBezTo>
                    <a:pt x="667" y="704"/>
                    <a:pt x="667" y="704"/>
                    <a:pt x="668" y="704"/>
                  </a:cubicBezTo>
                  <a:cubicBezTo>
                    <a:pt x="668" y="704"/>
                    <a:pt x="668" y="704"/>
                    <a:pt x="668" y="705"/>
                  </a:cubicBezTo>
                  <a:cubicBezTo>
                    <a:pt x="669" y="705"/>
                    <a:pt x="669" y="705"/>
                    <a:pt x="669" y="705"/>
                  </a:cubicBezTo>
                  <a:cubicBezTo>
                    <a:pt x="670" y="705"/>
                    <a:pt x="670" y="705"/>
                    <a:pt x="671" y="706"/>
                  </a:cubicBezTo>
                  <a:cubicBezTo>
                    <a:pt x="672" y="706"/>
                    <a:pt x="672" y="706"/>
                    <a:pt x="672" y="706"/>
                  </a:cubicBezTo>
                  <a:cubicBezTo>
                    <a:pt x="673" y="706"/>
                    <a:pt x="673" y="706"/>
                    <a:pt x="673" y="706"/>
                  </a:cubicBezTo>
                  <a:cubicBezTo>
                    <a:pt x="674" y="706"/>
                    <a:pt x="675" y="707"/>
                    <a:pt x="675" y="707"/>
                  </a:cubicBezTo>
                  <a:cubicBezTo>
                    <a:pt x="677" y="708"/>
                    <a:pt x="679" y="709"/>
                    <a:pt x="680" y="711"/>
                  </a:cubicBezTo>
                  <a:cubicBezTo>
                    <a:pt x="681" y="712"/>
                    <a:pt x="682" y="714"/>
                    <a:pt x="683" y="716"/>
                  </a:cubicBezTo>
                  <a:cubicBezTo>
                    <a:pt x="685" y="725"/>
                    <a:pt x="685" y="725"/>
                    <a:pt x="685" y="725"/>
                  </a:cubicBezTo>
                  <a:cubicBezTo>
                    <a:pt x="685" y="729"/>
                    <a:pt x="686" y="733"/>
                    <a:pt x="687" y="737"/>
                  </a:cubicBezTo>
                  <a:cubicBezTo>
                    <a:pt x="687" y="737"/>
                    <a:pt x="687" y="737"/>
                    <a:pt x="687" y="737"/>
                  </a:cubicBezTo>
                  <a:cubicBezTo>
                    <a:pt x="687" y="739"/>
                    <a:pt x="687" y="739"/>
                    <a:pt x="687" y="739"/>
                  </a:cubicBezTo>
                  <a:cubicBezTo>
                    <a:pt x="688" y="741"/>
                    <a:pt x="688" y="743"/>
                    <a:pt x="687" y="745"/>
                  </a:cubicBezTo>
                  <a:close/>
                  <a:moveTo>
                    <a:pt x="756" y="624"/>
                  </a:moveTo>
                  <a:cubicBezTo>
                    <a:pt x="754" y="623"/>
                    <a:pt x="752" y="622"/>
                    <a:pt x="752" y="621"/>
                  </a:cubicBezTo>
                  <a:cubicBezTo>
                    <a:pt x="750" y="620"/>
                    <a:pt x="749" y="619"/>
                    <a:pt x="749" y="618"/>
                  </a:cubicBezTo>
                  <a:cubicBezTo>
                    <a:pt x="748" y="616"/>
                    <a:pt x="748" y="616"/>
                    <a:pt x="748" y="616"/>
                  </a:cubicBezTo>
                  <a:cubicBezTo>
                    <a:pt x="747" y="613"/>
                    <a:pt x="746" y="610"/>
                    <a:pt x="745" y="607"/>
                  </a:cubicBezTo>
                  <a:cubicBezTo>
                    <a:pt x="744" y="605"/>
                    <a:pt x="743" y="603"/>
                    <a:pt x="743" y="601"/>
                  </a:cubicBezTo>
                  <a:cubicBezTo>
                    <a:pt x="743" y="601"/>
                    <a:pt x="743" y="601"/>
                    <a:pt x="743" y="600"/>
                  </a:cubicBezTo>
                  <a:cubicBezTo>
                    <a:pt x="743" y="600"/>
                    <a:pt x="743" y="600"/>
                    <a:pt x="743" y="600"/>
                  </a:cubicBezTo>
                  <a:cubicBezTo>
                    <a:pt x="743" y="600"/>
                    <a:pt x="743" y="600"/>
                    <a:pt x="743" y="600"/>
                  </a:cubicBezTo>
                  <a:cubicBezTo>
                    <a:pt x="743" y="599"/>
                    <a:pt x="743" y="599"/>
                    <a:pt x="743" y="599"/>
                  </a:cubicBezTo>
                  <a:cubicBezTo>
                    <a:pt x="743" y="599"/>
                    <a:pt x="743" y="599"/>
                    <a:pt x="743" y="599"/>
                  </a:cubicBezTo>
                  <a:cubicBezTo>
                    <a:pt x="746" y="594"/>
                    <a:pt x="755" y="594"/>
                    <a:pt x="760" y="594"/>
                  </a:cubicBezTo>
                  <a:cubicBezTo>
                    <a:pt x="785" y="594"/>
                    <a:pt x="785" y="594"/>
                    <a:pt x="785" y="594"/>
                  </a:cubicBezTo>
                  <a:cubicBezTo>
                    <a:pt x="787" y="594"/>
                    <a:pt x="789" y="594"/>
                    <a:pt x="791" y="595"/>
                  </a:cubicBezTo>
                  <a:cubicBezTo>
                    <a:pt x="792" y="595"/>
                    <a:pt x="793" y="595"/>
                    <a:pt x="793" y="595"/>
                  </a:cubicBezTo>
                  <a:cubicBezTo>
                    <a:pt x="793" y="595"/>
                    <a:pt x="793" y="595"/>
                    <a:pt x="794" y="595"/>
                  </a:cubicBezTo>
                  <a:cubicBezTo>
                    <a:pt x="794" y="595"/>
                    <a:pt x="795" y="596"/>
                    <a:pt x="795" y="596"/>
                  </a:cubicBezTo>
                  <a:cubicBezTo>
                    <a:pt x="796" y="596"/>
                    <a:pt x="796" y="596"/>
                    <a:pt x="797" y="597"/>
                  </a:cubicBezTo>
                  <a:cubicBezTo>
                    <a:pt x="797" y="597"/>
                    <a:pt x="797" y="597"/>
                    <a:pt x="797" y="597"/>
                  </a:cubicBezTo>
                  <a:cubicBezTo>
                    <a:pt x="797" y="597"/>
                    <a:pt x="797" y="597"/>
                    <a:pt x="798" y="597"/>
                  </a:cubicBezTo>
                  <a:cubicBezTo>
                    <a:pt x="798" y="597"/>
                    <a:pt x="799" y="597"/>
                    <a:pt x="799" y="597"/>
                  </a:cubicBezTo>
                  <a:cubicBezTo>
                    <a:pt x="800" y="598"/>
                    <a:pt x="800" y="598"/>
                    <a:pt x="800" y="598"/>
                  </a:cubicBezTo>
                  <a:cubicBezTo>
                    <a:pt x="801" y="598"/>
                    <a:pt x="801" y="598"/>
                    <a:pt x="801" y="598"/>
                  </a:cubicBezTo>
                  <a:cubicBezTo>
                    <a:pt x="801" y="599"/>
                    <a:pt x="801" y="599"/>
                    <a:pt x="801" y="599"/>
                  </a:cubicBezTo>
                  <a:cubicBezTo>
                    <a:pt x="802" y="599"/>
                    <a:pt x="802" y="599"/>
                    <a:pt x="802" y="599"/>
                  </a:cubicBezTo>
                  <a:cubicBezTo>
                    <a:pt x="803" y="600"/>
                    <a:pt x="804" y="601"/>
                    <a:pt x="805" y="602"/>
                  </a:cubicBezTo>
                  <a:cubicBezTo>
                    <a:pt x="805" y="602"/>
                    <a:pt x="805" y="602"/>
                    <a:pt x="805" y="602"/>
                  </a:cubicBezTo>
                  <a:cubicBezTo>
                    <a:pt x="807" y="606"/>
                    <a:pt x="809" y="610"/>
                    <a:pt x="810" y="613"/>
                  </a:cubicBezTo>
                  <a:cubicBezTo>
                    <a:pt x="810" y="613"/>
                    <a:pt x="810" y="613"/>
                    <a:pt x="810" y="613"/>
                  </a:cubicBezTo>
                  <a:cubicBezTo>
                    <a:pt x="811" y="615"/>
                    <a:pt x="813" y="617"/>
                    <a:pt x="813" y="619"/>
                  </a:cubicBezTo>
                  <a:cubicBezTo>
                    <a:pt x="813" y="619"/>
                    <a:pt x="813" y="619"/>
                    <a:pt x="813" y="619"/>
                  </a:cubicBezTo>
                  <a:cubicBezTo>
                    <a:pt x="813" y="619"/>
                    <a:pt x="813" y="619"/>
                    <a:pt x="813" y="619"/>
                  </a:cubicBezTo>
                  <a:cubicBezTo>
                    <a:pt x="814" y="623"/>
                    <a:pt x="810" y="625"/>
                    <a:pt x="807" y="626"/>
                  </a:cubicBezTo>
                  <a:cubicBezTo>
                    <a:pt x="806" y="626"/>
                    <a:pt x="806" y="626"/>
                    <a:pt x="806" y="626"/>
                  </a:cubicBezTo>
                  <a:cubicBezTo>
                    <a:pt x="806" y="626"/>
                    <a:pt x="806" y="626"/>
                    <a:pt x="806" y="626"/>
                  </a:cubicBezTo>
                  <a:cubicBezTo>
                    <a:pt x="805" y="626"/>
                    <a:pt x="804" y="626"/>
                    <a:pt x="804" y="627"/>
                  </a:cubicBezTo>
                  <a:cubicBezTo>
                    <a:pt x="804" y="627"/>
                    <a:pt x="804" y="627"/>
                    <a:pt x="803" y="627"/>
                  </a:cubicBezTo>
                  <a:cubicBezTo>
                    <a:pt x="803" y="627"/>
                    <a:pt x="802" y="627"/>
                    <a:pt x="801" y="627"/>
                  </a:cubicBezTo>
                  <a:cubicBezTo>
                    <a:pt x="801" y="627"/>
                    <a:pt x="801" y="627"/>
                    <a:pt x="800" y="627"/>
                  </a:cubicBezTo>
                  <a:cubicBezTo>
                    <a:pt x="800" y="627"/>
                    <a:pt x="800" y="627"/>
                    <a:pt x="800" y="627"/>
                  </a:cubicBezTo>
                  <a:cubicBezTo>
                    <a:pt x="799" y="627"/>
                    <a:pt x="799" y="627"/>
                    <a:pt x="799" y="627"/>
                  </a:cubicBezTo>
                  <a:cubicBezTo>
                    <a:pt x="796" y="627"/>
                    <a:pt x="792" y="627"/>
                    <a:pt x="788" y="627"/>
                  </a:cubicBezTo>
                  <a:cubicBezTo>
                    <a:pt x="782" y="627"/>
                    <a:pt x="775" y="627"/>
                    <a:pt x="769" y="627"/>
                  </a:cubicBezTo>
                  <a:cubicBezTo>
                    <a:pt x="765" y="627"/>
                    <a:pt x="760" y="626"/>
                    <a:pt x="756" y="624"/>
                  </a:cubicBezTo>
                  <a:cubicBezTo>
                    <a:pt x="756" y="624"/>
                    <a:pt x="756" y="624"/>
                    <a:pt x="756" y="624"/>
                  </a:cubicBezTo>
                  <a:close/>
                  <a:moveTo>
                    <a:pt x="772" y="677"/>
                  </a:moveTo>
                  <a:cubicBezTo>
                    <a:pt x="771" y="675"/>
                    <a:pt x="770" y="674"/>
                    <a:pt x="769" y="673"/>
                  </a:cubicBezTo>
                  <a:cubicBezTo>
                    <a:pt x="766" y="663"/>
                    <a:pt x="766" y="663"/>
                    <a:pt x="766" y="663"/>
                  </a:cubicBezTo>
                  <a:cubicBezTo>
                    <a:pt x="765" y="660"/>
                    <a:pt x="764" y="658"/>
                    <a:pt x="762" y="655"/>
                  </a:cubicBezTo>
                  <a:cubicBezTo>
                    <a:pt x="762" y="655"/>
                    <a:pt x="762" y="655"/>
                    <a:pt x="762" y="655"/>
                  </a:cubicBezTo>
                  <a:cubicBezTo>
                    <a:pt x="762" y="654"/>
                    <a:pt x="762" y="654"/>
                    <a:pt x="762" y="654"/>
                  </a:cubicBezTo>
                  <a:cubicBezTo>
                    <a:pt x="762" y="652"/>
                    <a:pt x="762" y="651"/>
                    <a:pt x="762" y="650"/>
                  </a:cubicBezTo>
                  <a:cubicBezTo>
                    <a:pt x="762" y="649"/>
                    <a:pt x="763" y="648"/>
                    <a:pt x="764" y="647"/>
                  </a:cubicBezTo>
                  <a:cubicBezTo>
                    <a:pt x="764" y="647"/>
                    <a:pt x="764" y="647"/>
                    <a:pt x="764" y="647"/>
                  </a:cubicBezTo>
                  <a:cubicBezTo>
                    <a:pt x="765" y="647"/>
                    <a:pt x="765" y="647"/>
                    <a:pt x="765" y="647"/>
                  </a:cubicBezTo>
                  <a:cubicBezTo>
                    <a:pt x="766" y="646"/>
                    <a:pt x="768" y="645"/>
                    <a:pt x="769" y="645"/>
                  </a:cubicBezTo>
                  <a:cubicBezTo>
                    <a:pt x="771" y="644"/>
                    <a:pt x="773" y="644"/>
                    <a:pt x="774" y="644"/>
                  </a:cubicBezTo>
                  <a:cubicBezTo>
                    <a:pt x="781" y="643"/>
                    <a:pt x="788" y="644"/>
                    <a:pt x="791" y="644"/>
                  </a:cubicBezTo>
                  <a:cubicBezTo>
                    <a:pt x="803" y="644"/>
                    <a:pt x="824" y="641"/>
                    <a:pt x="830" y="653"/>
                  </a:cubicBezTo>
                  <a:cubicBezTo>
                    <a:pt x="830" y="653"/>
                    <a:pt x="830" y="653"/>
                    <a:pt x="830" y="653"/>
                  </a:cubicBezTo>
                  <a:cubicBezTo>
                    <a:pt x="830" y="654"/>
                    <a:pt x="830" y="654"/>
                    <a:pt x="830" y="654"/>
                  </a:cubicBezTo>
                  <a:cubicBezTo>
                    <a:pt x="830" y="654"/>
                    <a:pt x="830" y="654"/>
                    <a:pt x="830" y="654"/>
                  </a:cubicBezTo>
                  <a:cubicBezTo>
                    <a:pt x="833" y="659"/>
                    <a:pt x="835" y="664"/>
                    <a:pt x="838" y="669"/>
                  </a:cubicBezTo>
                  <a:cubicBezTo>
                    <a:pt x="839" y="670"/>
                    <a:pt x="840" y="672"/>
                    <a:pt x="840" y="674"/>
                  </a:cubicBezTo>
                  <a:cubicBezTo>
                    <a:pt x="840" y="674"/>
                    <a:pt x="840" y="674"/>
                    <a:pt x="840" y="674"/>
                  </a:cubicBezTo>
                  <a:cubicBezTo>
                    <a:pt x="840" y="675"/>
                    <a:pt x="840" y="675"/>
                    <a:pt x="840" y="675"/>
                  </a:cubicBezTo>
                  <a:cubicBezTo>
                    <a:pt x="840" y="676"/>
                    <a:pt x="840" y="676"/>
                    <a:pt x="840" y="677"/>
                  </a:cubicBezTo>
                  <a:cubicBezTo>
                    <a:pt x="840" y="677"/>
                    <a:pt x="840" y="677"/>
                    <a:pt x="840" y="677"/>
                  </a:cubicBezTo>
                  <a:cubicBezTo>
                    <a:pt x="840" y="677"/>
                    <a:pt x="840" y="677"/>
                    <a:pt x="840" y="677"/>
                  </a:cubicBezTo>
                  <a:cubicBezTo>
                    <a:pt x="840" y="678"/>
                    <a:pt x="840" y="678"/>
                    <a:pt x="840" y="678"/>
                  </a:cubicBezTo>
                  <a:cubicBezTo>
                    <a:pt x="840" y="679"/>
                    <a:pt x="840" y="679"/>
                    <a:pt x="840" y="679"/>
                  </a:cubicBezTo>
                  <a:cubicBezTo>
                    <a:pt x="839" y="679"/>
                    <a:pt x="839" y="680"/>
                    <a:pt x="838" y="680"/>
                  </a:cubicBezTo>
                  <a:cubicBezTo>
                    <a:pt x="838" y="680"/>
                    <a:pt x="838" y="680"/>
                    <a:pt x="838" y="680"/>
                  </a:cubicBezTo>
                  <a:cubicBezTo>
                    <a:pt x="838" y="680"/>
                    <a:pt x="838" y="680"/>
                    <a:pt x="838" y="680"/>
                  </a:cubicBezTo>
                  <a:cubicBezTo>
                    <a:pt x="837" y="681"/>
                    <a:pt x="837" y="681"/>
                    <a:pt x="837" y="681"/>
                  </a:cubicBezTo>
                  <a:cubicBezTo>
                    <a:pt x="836" y="682"/>
                    <a:pt x="835" y="682"/>
                    <a:pt x="833" y="683"/>
                  </a:cubicBezTo>
                  <a:cubicBezTo>
                    <a:pt x="833" y="683"/>
                    <a:pt x="833" y="683"/>
                    <a:pt x="832" y="683"/>
                  </a:cubicBezTo>
                  <a:cubicBezTo>
                    <a:pt x="832" y="683"/>
                    <a:pt x="831" y="683"/>
                    <a:pt x="831" y="683"/>
                  </a:cubicBezTo>
                  <a:cubicBezTo>
                    <a:pt x="830" y="683"/>
                    <a:pt x="830" y="683"/>
                    <a:pt x="830" y="683"/>
                  </a:cubicBezTo>
                  <a:cubicBezTo>
                    <a:pt x="830" y="683"/>
                    <a:pt x="830" y="683"/>
                    <a:pt x="830" y="683"/>
                  </a:cubicBezTo>
                  <a:cubicBezTo>
                    <a:pt x="817" y="685"/>
                    <a:pt x="804" y="683"/>
                    <a:pt x="792" y="684"/>
                  </a:cubicBezTo>
                  <a:cubicBezTo>
                    <a:pt x="791" y="684"/>
                    <a:pt x="789" y="683"/>
                    <a:pt x="788" y="683"/>
                  </a:cubicBezTo>
                  <a:cubicBezTo>
                    <a:pt x="788" y="683"/>
                    <a:pt x="788" y="683"/>
                    <a:pt x="788" y="683"/>
                  </a:cubicBezTo>
                  <a:cubicBezTo>
                    <a:pt x="783" y="683"/>
                    <a:pt x="779" y="681"/>
                    <a:pt x="775" y="679"/>
                  </a:cubicBezTo>
                  <a:cubicBezTo>
                    <a:pt x="774" y="678"/>
                    <a:pt x="773" y="678"/>
                    <a:pt x="772" y="677"/>
                  </a:cubicBezTo>
                  <a:close/>
                  <a:moveTo>
                    <a:pt x="874" y="744"/>
                  </a:moveTo>
                  <a:cubicBezTo>
                    <a:pt x="874" y="745"/>
                    <a:pt x="873" y="745"/>
                    <a:pt x="873" y="745"/>
                  </a:cubicBezTo>
                  <a:cubicBezTo>
                    <a:pt x="873" y="746"/>
                    <a:pt x="873" y="746"/>
                    <a:pt x="873" y="746"/>
                  </a:cubicBezTo>
                  <a:cubicBezTo>
                    <a:pt x="873" y="746"/>
                    <a:pt x="873" y="747"/>
                    <a:pt x="873" y="747"/>
                  </a:cubicBezTo>
                  <a:cubicBezTo>
                    <a:pt x="873" y="747"/>
                    <a:pt x="873" y="747"/>
                    <a:pt x="873" y="748"/>
                  </a:cubicBezTo>
                  <a:cubicBezTo>
                    <a:pt x="872" y="748"/>
                    <a:pt x="872" y="748"/>
                    <a:pt x="872" y="748"/>
                  </a:cubicBezTo>
                  <a:cubicBezTo>
                    <a:pt x="872" y="748"/>
                    <a:pt x="872" y="749"/>
                    <a:pt x="871" y="749"/>
                  </a:cubicBezTo>
                  <a:cubicBezTo>
                    <a:pt x="871" y="749"/>
                    <a:pt x="871" y="749"/>
                    <a:pt x="871" y="749"/>
                  </a:cubicBezTo>
                  <a:cubicBezTo>
                    <a:pt x="869" y="751"/>
                    <a:pt x="866" y="752"/>
                    <a:pt x="863" y="752"/>
                  </a:cubicBezTo>
                  <a:cubicBezTo>
                    <a:pt x="863" y="752"/>
                    <a:pt x="863" y="752"/>
                    <a:pt x="863" y="752"/>
                  </a:cubicBezTo>
                  <a:cubicBezTo>
                    <a:pt x="861" y="753"/>
                    <a:pt x="860" y="753"/>
                    <a:pt x="859" y="753"/>
                  </a:cubicBezTo>
                  <a:cubicBezTo>
                    <a:pt x="859" y="753"/>
                    <a:pt x="859" y="753"/>
                    <a:pt x="859" y="753"/>
                  </a:cubicBezTo>
                  <a:cubicBezTo>
                    <a:pt x="858" y="753"/>
                    <a:pt x="858" y="753"/>
                    <a:pt x="858" y="753"/>
                  </a:cubicBezTo>
                  <a:cubicBezTo>
                    <a:pt x="856" y="753"/>
                    <a:pt x="855" y="753"/>
                    <a:pt x="854" y="753"/>
                  </a:cubicBezTo>
                  <a:cubicBezTo>
                    <a:pt x="820" y="753"/>
                    <a:pt x="820" y="753"/>
                    <a:pt x="820" y="753"/>
                  </a:cubicBezTo>
                  <a:cubicBezTo>
                    <a:pt x="819" y="753"/>
                    <a:pt x="817" y="753"/>
                    <a:pt x="816" y="753"/>
                  </a:cubicBezTo>
                  <a:cubicBezTo>
                    <a:pt x="816" y="752"/>
                    <a:pt x="815" y="752"/>
                    <a:pt x="815" y="752"/>
                  </a:cubicBezTo>
                  <a:cubicBezTo>
                    <a:pt x="808" y="751"/>
                    <a:pt x="799" y="748"/>
                    <a:pt x="796" y="742"/>
                  </a:cubicBezTo>
                  <a:cubicBezTo>
                    <a:pt x="795" y="741"/>
                    <a:pt x="794" y="740"/>
                    <a:pt x="794" y="739"/>
                  </a:cubicBezTo>
                  <a:cubicBezTo>
                    <a:pt x="794" y="739"/>
                    <a:pt x="794" y="739"/>
                    <a:pt x="794" y="739"/>
                  </a:cubicBezTo>
                  <a:cubicBezTo>
                    <a:pt x="794" y="739"/>
                    <a:pt x="794" y="739"/>
                    <a:pt x="794" y="739"/>
                  </a:cubicBezTo>
                  <a:cubicBezTo>
                    <a:pt x="792" y="734"/>
                    <a:pt x="790" y="729"/>
                    <a:pt x="788" y="724"/>
                  </a:cubicBezTo>
                  <a:cubicBezTo>
                    <a:pt x="788" y="722"/>
                    <a:pt x="786" y="718"/>
                    <a:pt x="785" y="716"/>
                  </a:cubicBezTo>
                  <a:cubicBezTo>
                    <a:pt x="785" y="716"/>
                    <a:pt x="785" y="716"/>
                    <a:pt x="785" y="716"/>
                  </a:cubicBezTo>
                  <a:cubicBezTo>
                    <a:pt x="785" y="715"/>
                    <a:pt x="785" y="715"/>
                    <a:pt x="785" y="715"/>
                  </a:cubicBezTo>
                  <a:cubicBezTo>
                    <a:pt x="785" y="715"/>
                    <a:pt x="785" y="715"/>
                    <a:pt x="785" y="714"/>
                  </a:cubicBezTo>
                  <a:cubicBezTo>
                    <a:pt x="785" y="713"/>
                    <a:pt x="785" y="712"/>
                    <a:pt x="785" y="711"/>
                  </a:cubicBezTo>
                  <a:cubicBezTo>
                    <a:pt x="785" y="710"/>
                    <a:pt x="786" y="709"/>
                    <a:pt x="786" y="708"/>
                  </a:cubicBezTo>
                  <a:cubicBezTo>
                    <a:pt x="786" y="708"/>
                    <a:pt x="786" y="708"/>
                    <a:pt x="786" y="708"/>
                  </a:cubicBezTo>
                  <a:cubicBezTo>
                    <a:pt x="788" y="705"/>
                    <a:pt x="792" y="704"/>
                    <a:pt x="796" y="703"/>
                  </a:cubicBezTo>
                  <a:cubicBezTo>
                    <a:pt x="796" y="703"/>
                    <a:pt x="796" y="703"/>
                    <a:pt x="796" y="703"/>
                  </a:cubicBezTo>
                  <a:cubicBezTo>
                    <a:pt x="797" y="703"/>
                    <a:pt x="798" y="703"/>
                    <a:pt x="799" y="703"/>
                  </a:cubicBezTo>
                  <a:cubicBezTo>
                    <a:pt x="800" y="703"/>
                    <a:pt x="800" y="703"/>
                    <a:pt x="800" y="703"/>
                  </a:cubicBezTo>
                  <a:cubicBezTo>
                    <a:pt x="802" y="703"/>
                    <a:pt x="802" y="703"/>
                    <a:pt x="802" y="703"/>
                  </a:cubicBezTo>
                  <a:cubicBezTo>
                    <a:pt x="803" y="703"/>
                    <a:pt x="803" y="703"/>
                    <a:pt x="804" y="703"/>
                  </a:cubicBezTo>
                  <a:cubicBezTo>
                    <a:pt x="814" y="703"/>
                    <a:pt x="825" y="703"/>
                    <a:pt x="836" y="703"/>
                  </a:cubicBezTo>
                  <a:cubicBezTo>
                    <a:pt x="836" y="703"/>
                    <a:pt x="836" y="703"/>
                    <a:pt x="836" y="703"/>
                  </a:cubicBezTo>
                  <a:cubicBezTo>
                    <a:pt x="836" y="703"/>
                    <a:pt x="836" y="703"/>
                    <a:pt x="836" y="703"/>
                  </a:cubicBezTo>
                  <a:cubicBezTo>
                    <a:pt x="837" y="703"/>
                    <a:pt x="838" y="703"/>
                    <a:pt x="840" y="703"/>
                  </a:cubicBezTo>
                  <a:cubicBezTo>
                    <a:pt x="840" y="703"/>
                    <a:pt x="840" y="703"/>
                    <a:pt x="840" y="703"/>
                  </a:cubicBezTo>
                  <a:cubicBezTo>
                    <a:pt x="847" y="704"/>
                    <a:pt x="855" y="707"/>
                    <a:pt x="859" y="713"/>
                  </a:cubicBezTo>
                  <a:cubicBezTo>
                    <a:pt x="860" y="713"/>
                    <a:pt x="860" y="714"/>
                    <a:pt x="861" y="715"/>
                  </a:cubicBezTo>
                  <a:cubicBezTo>
                    <a:pt x="862" y="717"/>
                    <a:pt x="862" y="717"/>
                    <a:pt x="862" y="717"/>
                  </a:cubicBezTo>
                  <a:cubicBezTo>
                    <a:pt x="864" y="721"/>
                    <a:pt x="866" y="726"/>
                    <a:pt x="868" y="730"/>
                  </a:cubicBezTo>
                  <a:cubicBezTo>
                    <a:pt x="870" y="733"/>
                    <a:pt x="872" y="736"/>
                    <a:pt x="873" y="740"/>
                  </a:cubicBezTo>
                  <a:cubicBezTo>
                    <a:pt x="874" y="741"/>
                    <a:pt x="874" y="743"/>
                    <a:pt x="874" y="744"/>
                  </a:cubicBezTo>
                  <a:close/>
                  <a:moveTo>
                    <a:pt x="881" y="678"/>
                  </a:moveTo>
                  <a:cubicBezTo>
                    <a:pt x="881" y="678"/>
                    <a:pt x="880" y="677"/>
                    <a:pt x="879" y="677"/>
                  </a:cubicBezTo>
                  <a:cubicBezTo>
                    <a:pt x="878" y="675"/>
                    <a:pt x="876" y="674"/>
                    <a:pt x="876" y="673"/>
                  </a:cubicBezTo>
                  <a:cubicBezTo>
                    <a:pt x="875" y="671"/>
                    <a:pt x="875" y="671"/>
                    <a:pt x="875" y="671"/>
                  </a:cubicBezTo>
                  <a:cubicBezTo>
                    <a:pt x="875" y="671"/>
                    <a:pt x="875" y="671"/>
                    <a:pt x="875" y="671"/>
                  </a:cubicBezTo>
                  <a:cubicBezTo>
                    <a:pt x="872" y="666"/>
                    <a:pt x="869" y="661"/>
                    <a:pt x="866" y="655"/>
                  </a:cubicBezTo>
                  <a:cubicBezTo>
                    <a:pt x="866" y="655"/>
                    <a:pt x="866" y="655"/>
                    <a:pt x="866" y="655"/>
                  </a:cubicBezTo>
                  <a:cubicBezTo>
                    <a:pt x="865" y="653"/>
                    <a:pt x="865" y="653"/>
                    <a:pt x="865" y="653"/>
                  </a:cubicBezTo>
                  <a:cubicBezTo>
                    <a:pt x="864" y="652"/>
                    <a:pt x="864" y="651"/>
                    <a:pt x="864" y="650"/>
                  </a:cubicBezTo>
                  <a:cubicBezTo>
                    <a:pt x="864" y="648"/>
                    <a:pt x="865" y="647"/>
                    <a:pt x="866" y="646"/>
                  </a:cubicBezTo>
                  <a:cubicBezTo>
                    <a:pt x="867" y="645"/>
                    <a:pt x="868" y="645"/>
                    <a:pt x="870" y="644"/>
                  </a:cubicBezTo>
                  <a:cubicBezTo>
                    <a:pt x="872" y="644"/>
                    <a:pt x="874" y="644"/>
                    <a:pt x="877" y="644"/>
                  </a:cubicBezTo>
                  <a:cubicBezTo>
                    <a:pt x="877" y="644"/>
                    <a:pt x="877" y="644"/>
                    <a:pt x="877" y="644"/>
                  </a:cubicBezTo>
                  <a:cubicBezTo>
                    <a:pt x="882" y="643"/>
                    <a:pt x="888" y="643"/>
                    <a:pt x="891" y="643"/>
                  </a:cubicBezTo>
                  <a:cubicBezTo>
                    <a:pt x="904" y="643"/>
                    <a:pt x="925" y="641"/>
                    <a:pt x="933" y="653"/>
                  </a:cubicBezTo>
                  <a:cubicBezTo>
                    <a:pt x="936" y="657"/>
                    <a:pt x="938" y="661"/>
                    <a:pt x="941" y="665"/>
                  </a:cubicBezTo>
                  <a:cubicBezTo>
                    <a:pt x="943" y="668"/>
                    <a:pt x="945" y="670"/>
                    <a:pt x="946" y="673"/>
                  </a:cubicBezTo>
                  <a:cubicBezTo>
                    <a:pt x="947" y="674"/>
                    <a:pt x="948" y="675"/>
                    <a:pt x="948" y="677"/>
                  </a:cubicBezTo>
                  <a:cubicBezTo>
                    <a:pt x="948" y="677"/>
                    <a:pt x="947" y="678"/>
                    <a:pt x="947" y="679"/>
                  </a:cubicBezTo>
                  <a:cubicBezTo>
                    <a:pt x="947" y="679"/>
                    <a:pt x="946" y="680"/>
                    <a:pt x="946" y="680"/>
                  </a:cubicBezTo>
                  <a:cubicBezTo>
                    <a:pt x="946" y="680"/>
                    <a:pt x="946" y="680"/>
                    <a:pt x="946" y="680"/>
                  </a:cubicBezTo>
                  <a:cubicBezTo>
                    <a:pt x="946" y="680"/>
                    <a:pt x="946" y="680"/>
                    <a:pt x="946" y="680"/>
                  </a:cubicBezTo>
                  <a:cubicBezTo>
                    <a:pt x="945" y="680"/>
                    <a:pt x="945" y="680"/>
                    <a:pt x="945" y="681"/>
                  </a:cubicBezTo>
                  <a:cubicBezTo>
                    <a:pt x="945" y="681"/>
                    <a:pt x="945" y="681"/>
                    <a:pt x="945" y="681"/>
                  </a:cubicBezTo>
                  <a:cubicBezTo>
                    <a:pt x="944" y="681"/>
                    <a:pt x="944" y="681"/>
                    <a:pt x="943" y="682"/>
                  </a:cubicBezTo>
                  <a:cubicBezTo>
                    <a:pt x="943" y="682"/>
                    <a:pt x="942" y="682"/>
                    <a:pt x="942" y="682"/>
                  </a:cubicBezTo>
                  <a:cubicBezTo>
                    <a:pt x="942" y="683"/>
                    <a:pt x="942" y="683"/>
                    <a:pt x="942" y="683"/>
                  </a:cubicBezTo>
                  <a:cubicBezTo>
                    <a:pt x="941" y="683"/>
                    <a:pt x="941" y="683"/>
                    <a:pt x="941" y="683"/>
                  </a:cubicBezTo>
                  <a:cubicBezTo>
                    <a:pt x="935" y="684"/>
                    <a:pt x="927" y="683"/>
                    <a:pt x="921" y="683"/>
                  </a:cubicBezTo>
                  <a:cubicBezTo>
                    <a:pt x="914" y="683"/>
                    <a:pt x="907" y="683"/>
                    <a:pt x="900" y="683"/>
                  </a:cubicBezTo>
                  <a:cubicBezTo>
                    <a:pt x="894" y="683"/>
                    <a:pt x="887" y="682"/>
                    <a:pt x="881" y="678"/>
                  </a:cubicBezTo>
                  <a:close/>
                  <a:moveTo>
                    <a:pt x="992" y="748"/>
                  </a:moveTo>
                  <a:cubicBezTo>
                    <a:pt x="992" y="748"/>
                    <a:pt x="992" y="748"/>
                    <a:pt x="992" y="748"/>
                  </a:cubicBezTo>
                  <a:cubicBezTo>
                    <a:pt x="991" y="749"/>
                    <a:pt x="989" y="751"/>
                    <a:pt x="987" y="751"/>
                  </a:cubicBezTo>
                  <a:cubicBezTo>
                    <a:pt x="986" y="752"/>
                    <a:pt x="983" y="752"/>
                    <a:pt x="980" y="752"/>
                  </a:cubicBezTo>
                  <a:cubicBezTo>
                    <a:pt x="977" y="752"/>
                    <a:pt x="977" y="752"/>
                    <a:pt x="977" y="752"/>
                  </a:cubicBezTo>
                  <a:cubicBezTo>
                    <a:pt x="977" y="752"/>
                    <a:pt x="977" y="752"/>
                    <a:pt x="977" y="752"/>
                  </a:cubicBezTo>
                  <a:cubicBezTo>
                    <a:pt x="966" y="752"/>
                    <a:pt x="953" y="752"/>
                    <a:pt x="941" y="752"/>
                  </a:cubicBezTo>
                  <a:cubicBezTo>
                    <a:pt x="940" y="752"/>
                    <a:pt x="938" y="752"/>
                    <a:pt x="937" y="752"/>
                  </a:cubicBezTo>
                  <a:cubicBezTo>
                    <a:pt x="937" y="752"/>
                    <a:pt x="937" y="752"/>
                    <a:pt x="937" y="752"/>
                  </a:cubicBezTo>
                  <a:cubicBezTo>
                    <a:pt x="929" y="751"/>
                    <a:pt x="920" y="748"/>
                    <a:pt x="915" y="741"/>
                  </a:cubicBezTo>
                  <a:cubicBezTo>
                    <a:pt x="914" y="741"/>
                    <a:pt x="913" y="740"/>
                    <a:pt x="913" y="739"/>
                  </a:cubicBezTo>
                  <a:cubicBezTo>
                    <a:pt x="913" y="739"/>
                    <a:pt x="913" y="739"/>
                    <a:pt x="913" y="739"/>
                  </a:cubicBezTo>
                  <a:cubicBezTo>
                    <a:pt x="913" y="739"/>
                    <a:pt x="913" y="739"/>
                    <a:pt x="913" y="739"/>
                  </a:cubicBezTo>
                  <a:cubicBezTo>
                    <a:pt x="910" y="734"/>
                    <a:pt x="907" y="730"/>
                    <a:pt x="905" y="725"/>
                  </a:cubicBezTo>
                  <a:cubicBezTo>
                    <a:pt x="903" y="722"/>
                    <a:pt x="899" y="717"/>
                    <a:pt x="899" y="713"/>
                  </a:cubicBezTo>
                  <a:cubicBezTo>
                    <a:pt x="899" y="713"/>
                    <a:pt x="899" y="713"/>
                    <a:pt x="899" y="713"/>
                  </a:cubicBezTo>
                  <a:cubicBezTo>
                    <a:pt x="898" y="712"/>
                    <a:pt x="898" y="712"/>
                    <a:pt x="898" y="711"/>
                  </a:cubicBezTo>
                  <a:cubicBezTo>
                    <a:pt x="898" y="707"/>
                    <a:pt x="901" y="705"/>
                    <a:pt x="905" y="704"/>
                  </a:cubicBezTo>
                  <a:cubicBezTo>
                    <a:pt x="905" y="704"/>
                    <a:pt x="905" y="704"/>
                    <a:pt x="905" y="704"/>
                  </a:cubicBezTo>
                  <a:cubicBezTo>
                    <a:pt x="905" y="704"/>
                    <a:pt x="905" y="704"/>
                    <a:pt x="905" y="704"/>
                  </a:cubicBezTo>
                  <a:cubicBezTo>
                    <a:pt x="906" y="704"/>
                    <a:pt x="906" y="704"/>
                    <a:pt x="906" y="703"/>
                  </a:cubicBezTo>
                  <a:cubicBezTo>
                    <a:pt x="908" y="703"/>
                    <a:pt x="910" y="703"/>
                    <a:pt x="912" y="703"/>
                  </a:cubicBezTo>
                  <a:cubicBezTo>
                    <a:pt x="936" y="703"/>
                    <a:pt x="936" y="703"/>
                    <a:pt x="936" y="703"/>
                  </a:cubicBezTo>
                  <a:cubicBezTo>
                    <a:pt x="940" y="703"/>
                    <a:pt x="944" y="703"/>
                    <a:pt x="948" y="703"/>
                  </a:cubicBezTo>
                  <a:cubicBezTo>
                    <a:pt x="948" y="703"/>
                    <a:pt x="948" y="703"/>
                    <a:pt x="948" y="703"/>
                  </a:cubicBezTo>
                  <a:cubicBezTo>
                    <a:pt x="948" y="703"/>
                    <a:pt x="948" y="703"/>
                    <a:pt x="948" y="703"/>
                  </a:cubicBezTo>
                  <a:cubicBezTo>
                    <a:pt x="949" y="703"/>
                    <a:pt x="951" y="703"/>
                    <a:pt x="951" y="703"/>
                  </a:cubicBezTo>
                  <a:cubicBezTo>
                    <a:pt x="952" y="703"/>
                    <a:pt x="952" y="703"/>
                    <a:pt x="952" y="703"/>
                  </a:cubicBezTo>
                  <a:cubicBezTo>
                    <a:pt x="960" y="704"/>
                    <a:pt x="968" y="707"/>
                    <a:pt x="973" y="712"/>
                  </a:cubicBezTo>
                  <a:cubicBezTo>
                    <a:pt x="973" y="712"/>
                    <a:pt x="974" y="713"/>
                    <a:pt x="974" y="713"/>
                  </a:cubicBezTo>
                  <a:cubicBezTo>
                    <a:pt x="974" y="713"/>
                    <a:pt x="974" y="713"/>
                    <a:pt x="974" y="714"/>
                  </a:cubicBezTo>
                  <a:cubicBezTo>
                    <a:pt x="975" y="714"/>
                    <a:pt x="975" y="714"/>
                    <a:pt x="975" y="715"/>
                  </a:cubicBezTo>
                  <a:cubicBezTo>
                    <a:pt x="975" y="715"/>
                    <a:pt x="975" y="715"/>
                    <a:pt x="975" y="715"/>
                  </a:cubicBezTo>
                  <a:cubicBezTo>
                    <a:pt x="976" y="716"/>
                    <a:pt x="976" y="716"/>
                    <a:pt x="976" y="716"/>
                  </a:cubicBezTo>
                  <a:cubicBezTo>
                    <a:pt x="978" y="719"/>
                    <a:pt x="980" y="722"/>
                    <a:pt x="983" y="726"/>
                  </a:cubicBezTo>
                  <a:cubicBezTo>
                    <a:pt x="983" y="726"/>
                    <a:pt x="983" y="726"/>
                    <a:pt x="983" y="726"/>
                  </a:cubicBezTo>
                  <a:cubicBezTo>
                    <a:pt x="986" y="730"/>
                    <a:pt x="990" y="735"/>
                    <a:pt x="992" y="740"/>
                  </a:cubicBezTo>
                  <a:cubicBezTo>
                    <a:pt x="993" y="741"/>
                    <a:pt x="993" y="741"/>
                    <a:pt x="993" y="741"/>
                  </a:cubicBezTo>
                  <a:cubicBezTo>
                    <a:pt x="993" y="741"/>
                    <a:pt x="993" y="741"/>
                    <a:pt x="993" y="741"/>
                  </a:cubicBezTo>
                  <a:cubicBezTo>
                    <a:pt x="994" y="744"/>
                    <a:pt x="994" y="746"/>
                    <a:pt x="992" y="7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9" name="Rectangle 208"/>
          <p:cNvSpPr/>
          <p:nvPr>
            <p:custDataLst>
              <p:tags r:id="rId4"/>
            </p:custDataLst>
          </p:nvPr>
        </p:nvSpPr>
        <p:spPr bwMode="auto">
          <a:xfrm>
            <a:off x="5330758" y="1695450"/>
            <a:ext cx="5592998" cy="4480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solidFill>
                <a:latin typeface="Segoe UI Light" pitchFamily="34" charset="0"/>
              </a:rPr>
              <a:t>Cluster of Compute Nodes</a:t>
            </a:r>
          </a:p>
        </p:txBody>
      </p:sp>
      <p:grpSp>
        <p:nvGrpSpPr>
          <p:cNvPr id="210" name="Group 209"/>
          <p:cNvGrpSpPr/>
          <p:nvPr/>
        </p:nvGrpSpPr>
        <p:grpSpPr>
          <a:xfrm>
            <a:off x="5526081" y="2295216"/>
            <a:ext cx="5202353" cy="3697914"/>
            <a:chOff x="6328612" y="2295216"/>
            <a:chExt cx="5202353" cy="3697914"/>
          </a:xfrm>
        </p:grpSpPr>
        <p:sp>
          <p:nvSpPr>
            <p:cNvPr id="211" name="Rectangle 210"/>
            <p:cNvSpPr/>
            <p:nvPr/>
          </p:nvSpPr>
          <p:spPr>
            <a:xfrm>
              <a:off x="632861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12" name="Rectangle 211"/>
            <p:cNvSpPr/>
            <p:nvPr/>
          </p:nvSpPr>
          <p:spPr bwMode="auto">
            <a:xfrm>
              <a:off x="642005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ln>
                    <a:solidFill>
                      <a:schemeClr val="bg1">
                        <a:alpha val="0"/>
                      </a:schemeClr>
                    </a:solidFill>
                  </a:ln>
                  <a:solidFill>
                    <a:srgbClr val="595959"/>
                  </a:solidFill>
                </a:rPr>
                <a:t>Application</a:t>
              </a:r>
              <a:endParaRPr lang="en-US" sz="1400" dirty="0">
                <a:ln>
                  <a:solidFill>
                    <a:schemeClr val="bg1">
                      <a:alpha val="0"/>
                    </a:schemeClr>
                  </a:solidFill>
                </a:ln>
                <a:solidFill>
                  <a:srgbClr val="595959"/>
                </a:solidFill>
              </a:endParaRPr>
            </a:p>
          </p:txBody>
        </p:sp>
        <p:sp>
          <p:nvSpPr>
            <p:cNvPr id="213" name="Rectangle 212"/>
            <p:cNvSpPr/>
            <p:nvPr/>
          </p:nvSpPr>
          <p:spPr>
            <a:xfrm>
              <a:off x="8111692"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14" name="Rectangle 213"/>
            <p:cNvSpPr/>
            <p:nvPr/>
          </p:nvSpPr>
          <p:spPr bwMode="auto">
            <a:xfrm>
              <a:off x="8203132"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sp>
          <p:nvSpPr>
            <p:cNvPr id="215" name="Rectangle 214"/>
            <p:cNvSpPr/>
            <p:nvPr/>
          </p:nvSpPr>
          <p:spPr>
            <a:xfrm>
              <a:off x="9885045" y="2295216"/>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16" name="Rectangle 215"/>
            <p:cNvSpPr/>
            <p:nvPr/>
          </p:nvSpPr>
          <p:spPr bwMode="auto">
            <a:xfrm>
              <a:off x="9976485" y="2628637"/>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sp>
          <p:nvSpPr>
            <p:cNvPr id="217" name="Rectangle 216"/>
            <p:cNvSpPr/>
            <p:nvPr/>
          </p:nvSpPr>
          <p:spPr>
            <a:xfrm>
              <a:off x="632861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18" name="Rectangle 217"/>
            <p:cNvSpPr/>
            <p:nvPr/>
          </p:nvSpPr>
          <p:spPr>
            <a:xfrm>
              <a:off x="8111692"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19" name="Rectangle 218"/>
            <p:cNvSpPr/>
            <p:nvPr/>
          </p:nvSpPr>
          <p:spPr>
            <a:xfrm>
              <a:off x="9885045" y="3595533"/>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20" name="Rectangle 219"/>
            <p:cNvSpPr/>
            <p:nvPr>
              <p:custDataLst>
                <p:tags r:id="rId7"/>
              </p:custDataLst>
            </p:nvPr>
          </p:nvSpPr>
          <p:spPr>
            <a:xfrm>
              <a:off x="632861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21" name="Rectangle 220"/>
            <p:cNvSpPr/>
            <p:nvPr/>
          </p:nvSpPr>
          <p:spPr>
            <a:xfrm>
              <a:off x="8111692"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22" name="Rectangle 221"/>
            <p:cNvSpPr/>
            <p:nvPr/>
          </p:nvSpPr>
          <p:spPr>
            <a:xfrm>
              <a:off x="9885045" y="4895850"/>
              <a:ext cx="1645920" cy="1097280"/>
            </a:xfrm>
            <a:prstGeom prst="rect">
              <a:avLst/>
            </a:prstGeom>
            <a:solidFill>
              <a:schemeClr val="accent2"/>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mpute Node</a:t>
              </a:r>
            </a:p>
          </p:txBody>
        </p:sp>
        <p:sp>
          <p:nvSpPr>
            <p:cNvPr id="223" name="Rectangle 222"/>
            <p:cNvSpPr/>
            <p:nvPr/>
          </p:nvSpPr>
          <p:spPr bwMode="auto">
            <a:xfrm>
              <a:off x="642005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sp>
          <p:nvSpPr>
            <p:cNvPr id="224" name="Rectangle 223"/>
            <p:cNvSpPr/>
            <p:nvPr/>
          </p:nvSpPr>
          <p:spPr bwMode="auto">
            <a:xfrm>
              <a:off x="8203132"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sp>
          <p:nvSpPr>
            <p:cNvPr id="225" name="Rectangle 224"/>
            <p:cNvSpPr/>
            <p:nvPr/>
          </p:nvSpPr>
          <p:spPr bwMode="auto">
            <a:xfrm>
              <a:off x="9976485" y="3928954"/>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sp>
          <p:nvSpPr>
            <p:cNvPr id="226" name="Rectangle 225"/>
            <p:cNvSpPr/>
            <p:nvPr>
              <p:custDataLst>
                <p:tags r:id="rId8"/>
              </p:custDataLst>
            </p:nvPr>
          </p:nvSpPr>
          <p:spPr bwMode="auto">
            <a:xfrm>
              <a:off x="642005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sp>
          <p:nvSpPr>
            <p:cNvPr id="227" name="Rectangle 226"/>
            <p:cNvSpPr/>
            <p:nvPr/>
          </p:nvSpPr>
          <p:spPr bwMode="auto">
            <a:xfrm>
              <a:off x="8203132"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sp>
          <p:nvSpPr>
            <p:cNvPr id="228" name="Rectangle 227"/>
            <p:cNvSpPr/>
            <p:nvPr/>
          </p:nvSpPr>
          <p:spPr bwMode="auto">
            <a:xfrm>
              <a:off x="9976485" y="5229271"/>
              <a:ext cx="1463040" cy="32643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rgbClr val="595959"/>
                  </a:solidFill>
                </a:rPr>
                <a:t>Application</a:t>
              </a:r>
            </a:p>
          </p:txBody>
        </p:sp>
      </p:grpSp>
      <p:sp>
        <p:nvSpPr>
          <p:cNvPr id="252" name="Freeform 34"/>
          <p:cNvSpPr>
            <a:spLocks noEditPoints="1"/>
          </p:cNvSpPr>
          <p:nvPr/>
        </p:nvSpPr>
        <p:spPr bwMode="auto">
          <a:xfrm>
            <a:off x="6605240" y="2995299"/>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34"/>
          <p:cNvSpPr>
            <a:spLocks noEditPoints="1"/>
          </p:cNvSpPr>
          <p:nvPr/>
        </p:nvSpPr>
        <p:spPr bwMode="auto">
          <a:xfrm>
            <a:off x="8400587" y="2995299"/>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34"/>
          <p:cNvSpPr>
            <a:spLocks noEditPoints="1"/>
          </p:cNvSpPr>
          <p:nvPr/>
        </p:nvSpPr>
        <p:spPr bwMode="auto">
          <a:xfrm>
            <a:off x="10207084" y="2995299"/>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34"/>
          <p:cNvSpPr>
            <a:spLocks noEditPoints="1"/>
          </p:cNvSpPr>
          <p:nvPr/>
        </p:nvSpPr>
        <p:spPr bwMode="auto">
          <a:xfrm>
            <a:off x="6605240" y="4288840"/>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Freeform 34"/>
          <p:cNvSpPr>
            <a:spLocks noEditPoints="1"/>
          </p:cNvSpPr>
          <p:nvPr/>
        </p:nvSpPr>
        <p:spPr bwMode="auto">
          <a:xfrm>
            <a:off x="8400587" y="4288840"/>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34"/>
          <p:cNvSpPr>
            <a:spLocks noEditPoints="1"/>
          </p:cNvSpPr>
          <p:nvPr/>
        </p:nvSpPr>
        <p:spPr bwMode="auto">
          <a:xfrm>
            <a:off x="10207084" y="4288840"/>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Freeform 34"/>
          <p:cNvSpPr>
            <a:spLocks noEditPoints="1"/>
          </p:cNvSpPr>
          <p:nvPr/>
        </p:nvSpPr>
        <p:spPr bwMode="auto">
          <a:xfrm>
            <a:off x="6605240" y="5582381"/>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Freeform 34"/>
          <p:cNvSpPr>
            <a:spLocks noEditPoints="1"/>
          </p:cNvSpPr>
          <p:nvPr/>
        </p:nvSpPr>
        <p:spPr bwMode="auto">
          <a:xfrm>
            <a:off x="8400587" y="5582381"/>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Freeform 34"/>
          <p:cNvSpPr>
            <a:spLocks noEditPoints="1"/>
          </p:cNvSpPr>
          <p:nvPr/>
        </p:nvSpPr>
        <p:spPr bwMode="auto">
          <a:xfrm>
            <a:off x="10207084" y="5582381"/>
            <a:ext cx="364272" cy="35746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261" name="Elbow Connector 260"/>
          <p:cNvCxnSpPr/>
          <p:nvPr/>
        </p:nvCxnSpPr>
        <p:spPr>
          <a:xfrm rot="16200000" flipH="1">
            <a:off x="6325160" y="2856910"/>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Elbow Connector 261"/>
          <p:cNvCxnSpPr/>
          <p:nvPr/>
        </p:nvCxnSpPr>
        <p:spPr>
          <a:xfrm rot="5400000" flipH="1" flipV="1">
            <a:off x="6237765" y="3228936"/>
            <a:ext cx="345127" cy="36576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Elbow Connector 262"/>
          <p:cNvCxnSpPr/>
          <p:nvPr/>
        </p:nvCxnSpPr>
        <p:spPr>
          <a:xfrm rot="16200000" flipH="1">
            <a:off x="6325160" y="4162306"/>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4" name="Elbow Connector 263"/>
          <p:cNvCxnSpPr/>
          <p:nvPr/>
        </p:nvCxnSpPr>
        <p:spPr>
          <a:xfrm rot="5400000" flipH="1" flipV="1">
            <a:off x="6237765" y="4534332"/>
            <a:ext cx="345127" cy="36576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5" name="Elbow Connector 264"/>
          <p:cNvCxnSpPr/>
          <p:nvPr/>
        </p:nvCxnSpPr>
        <p:spPr>
          <a:xfrm rot="16200000" flipH="1">
            <a:off x="8108309" y="2856910"/>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6" name="Elbow Connector 265"/>
          <p:cNvCxnSpPr/>
          <p:nvPr/>
        </p:nvCxnSpPr>
        <p:spPr>
          <a:xfrm rot="5400000" flipH="1" flipV="1">
            <a:off x="8020914" y="3228936"/>
            <a:ext cx="345127" cy="36576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7" name="Elbow Connector 266"/>
          <p:cNvCxnSpPr/>
          <p:nvPr/>
        </p:nvCxnSpPr>
        <p:spPr>
          <a:xfrm rot="16200000" flipH="1">
            <a:off x="8108309" y="4162306"/>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8" name="Elbow Connector 267"/>
          <p:cNvCxnSpPr/>
          <p:nvPr/>
        </p:nvCxnSpPr>
        <p:spPr>
          <a:xfrm rot="5400000" flipH="1" flipV="1">
            <a:off x="8020914" y="4534332"/>
            <a:ext cx="345127" cy="36576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16200000" flipH="1">
            <a:off x="9924774" y="2856910"/>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0" name="Elbow Connector 269"/>
          <p:cNvCxnSpPr/>
          <p:nvPr/>
        </p:nvCxnSpPr>
        <p:spPr>
          <a:xfrm rot="5400000" flipH="1" flipV="1">
            <a:off x="9837379" y="3228936"/>
            <a:ext cx="345127" cy="36576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1" name="Elbow Connector 270"/>
          <p:cNvCxnSpPr/>
          <p:nvPr/>
        </p:nvCxnSpPr>
        <p:spPr>
          <a:xfrm rot="16200000" flipH="1">
            <a:off x="9924774" y="4162306"/>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2" name="Elbow Connector 271"/>
          <p:cNvCxnSpPr/>
          <p:nvPr/>
        </p:nvCxnSpPr>
        <p:spPr>
          <a:xfrm rot="5400000" flipH="1" flipV="1">
            <a:off x="9837379" y="4534332"/>
            <a:ext cx="345127" cy="365767"/>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3" name="Elbow Connector 272"/>
          <p:cNvCxnSpPr/>
          <p:nvPr/>
        </p:nvCxnSpPr>
        <p:spPr>
          <a:xfrm rot="16200000" flipH="1">
            <a:off x="6325160" y="5460639"/>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4" name="Elbow Connector 273"/>
          <p:cNvCxnSpPr/>
          <p:nvPr/>
        </p:nvCxnSpPr>
        <p:spPr>
          <a:xfrm rot="16200000" flipH="1">
            <a:off x="8103354" y="5460639"/>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5" name="Elbow Connector 274"/>
          <p:cNvCxnSpPr/>
          <p:nvPr/>
        </p:nvCxnSpPr>
        <p:spPr>
          <a:xfrm rot="16200000" flipH="1">
            <a:off x="9924774" y="5460639"/>
            <a:ext cx="170332" cy="365762"/>
          </a:xfrm>
          <a:prstGeom prst="bentConnector2">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ight Arrow 54"/>
          <p:cNvSpPr/>
          <p:nvPr>
            <p:custDataLst>
              <p:tags r:id="rId5"/>
            </p:custDataLst>
          </p:nvPr>
        </p:nvSpPr>
        <p:spPr bwMode="auto">
          <a:xfrm>
            <a:off x="2166366" y="3021330"/>
            <a:ext cx="3017520" cy="54864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1. Submit work</a:t>
            </a:r>
          </a:p>
        </p:txBody>
      </p:sp>
      <p:sp>
        <p:nvSpPr>
          <p:cNvPr id="56" name="Right Arrow 55"/>
          <p:cNvSpPr/>
          <p:nvPr>
            <p:custDataLst>
              <p:tags r:id="rId6"/>
            </p:custDataLst>
          </p:nvPr>
        </p:nvSpPr>
        <p:spPr bwMode="auto">
          <a:xfrm flipH="1">
            <a:off x="2154938" y="4301490"/>
            <a:ext cx="3017520" cy="54864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2</a:t>
            </a:r>
            <a:r>
              <a:rPr lang="en-US" sz="1200" dirty="0" smtClean="0">
                <a:ln>
                  <a:solidFill>
                    <a:schemeClr val="bg1">
                      <a:alpha val="0"/>
                    </a:schemeClr>
                  </a:solidFill>
                </a:ln>
                <a:solidFill>
                  <a:schemeClr val="bg1">
                    <a:alpha val="99000"/>
                  </a:schemeClr>
                </a:solidFill>
              </a:rPr>
              <a:t>. </a:t>
            </a:r>
            <a:r>
              <a:rPr lang="en-US" sz="1200" dirty="0">
                <a:ln>
                  <a:solidFill>
                    <a:schemeClr val="bg1">
                      <a:alpha val="0"/>
                    </a:schemeClr>
                  </a:solidFill>
                </a:ln>
                <a:solidFill>
                  <a:schemeClr val="bg1">
                    <a:alpha val="99000"/>
                  </a:schemeClr>
                </a:solidFill>
              </a:rPr>
              <a:t>Get results</a:t>
            </a:r>
          </a:p>
        </p:txBody>
      </p:sp>
    </p:spTree>
    <p:extLst>
      <p:ext uri="{BB962C8B-B14F-4D97-AF65-F5344CB8AC3E}">
        <p14:creationId xmlns:p14="http://schemas.microsoft.com/office/powerpoint/2010/main" val="409898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wipe(right)">
                                      <p:cBhvr>
                                        <p:cTn id="12"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002729" y="4131447"/>
            <a:ext cx="7680960" cy="2194560"/>
            <a:chOff x="4002729" y="6183767"/>
            <a:chExt cx="7680960" cy="2194560"/>
          </a:xfrm>
        </p:grpSpPr>
        <p:sp>
          <p:nvSpPr>
            <p:cNvPr id="101" name="Rectangle 100"/>
            <p:cNvSpPr/>
            <p:nvPr>
              <p:custDataLst>
                <p:tags r:id="rId32"/>
              </p:custDataLst>
            </p:nvPr>
          </p:nvSpPr>
          <p:spPr bwMode="auto">
            <a:xfrm>
              <a:off x="4002729" y="6183767"/>
              <a:ext cx="7680960" cy="2194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Compute Nodes</a:t>
              </a:r>
            </a:p>
          </p:txBody>
        </p:sp>
        <p:sp>
          <p:nvSpPr>
            <p:cNvPr id="102" name="Rectangle 101"/>
            <p:cNvSpPr/>
            <p:nvPr>
              <p:custDataLst>
                <p:tags r:id="rId33"/>
              </p:custDataLst>
            </p:nvPr>
          </p:nvSpPr>
          <p:spPr bwMode="auto">
            <a:xfrm>
              <a:off x="4170045" y="6274435"/>
              <a:ext cx="2377440" cy="164592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Windows 7</a:t>
              </a:r>
            </a:p>
          </p:txBody>
        </p:sp>
        <p:sp>
          <p:nvSpPr>
            <p:cNvPr id="104" name="Rectangle 103"/>
            <p:cNvSpPr/>
            <p:nvPr>
              <p:custDataLst>
                <p:tags r:id="rId34"/>
              </p:custDataLst>
            </p:nvPr>
          </p:nvSpPr>
          <p:spPr bwMode="auto">
            <a:xfrm>
              <a:off x="6638925" y="6274435"/>
              <a:ext cx="2377440" cy="164592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Windows HPC Server</a:t>
              </a:r>
            </a:p>
          </p:txBody>
        </p:sp>
        <p:sp>
          <p:nvSpPr>
            <p:cNvPr id="109" name="Rectangle 108"/>
            <p:cNvSpPr/>
            <p:nvPr>
              <p:custDataLst>
                <p:tags r:id="rId35"/>
              </p:custDataLst>
            </p:nvPr>
          </p:nvSpPr>
          <p:spPr bwMode="auto">
            <a:xfrm>
              <a:off x="9107805" y="6274435"/>
              <a:ext cx="2377440" cy="164592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Windows Azure</a:t>
              </a:r>
            </a:p>
          </p:txBody>
        </p:sp>
        <p:grpSp>
          <p:nvGrpSpPr>
            <p:cNvPr id="110" name="Group 109"/>
            <p:cNvGrpSpPr/>
            <p:nvPr>
              <p:custDataLst>
                <p:tags r:id="rId36"/>
              </p:custDataLst>
            </p:nvPr>
          </p:nvGrpSpPr>
          <p:grpSpPr>
            <a:xfrm>
              <a:off x="7059626" y="6327990"/>
              <a:ext cx="517512" cy="1252636"/>
              <a:chOff x="9834083" y="4646130"/>
              <a:chExt cx="345952" cy="837376"/>
            </a:xfrm>
          </p:grpSpPr>
          <p:sp>
            <p:nvSpPr>
              <p:cNvPr id="197" name="Freeform 196"/>
              <p:cNvSpPr/>
              <p:nvPr/>
            </p:nvSpPr>
            <p:spPr>
              <a:xfrm>
                <a:off x="9834083" y="522918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8" name="Freeform 197"/>
              <p:cNvSpPr/>
              <p:nvPr/>
            </p:nvSpPr>
            <p:spPr>
              <a:xfrm>
                <a:off x="9834083" y="515607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9" name="Freeform 198"/>
              <p:cNvSpPr/>
              <p:nvPr/>
            </p:nvSpPr>
            <p:spPr>
              <a:xfrm>
                <a:off x="9834083" y="508297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00" name="Freeform 199"/>
              <p:cNvSpPr/>
              <p:nvPr/>
            </p:nvSpPr>
            <p:spPr>
              <a:xfrm>
                <a:off x="9834083" y="500914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01" name="Freeform 200"/>
              <p:cNvSpPr/>
              <p:nvPr/>
            </p:nvSpPr>
            <p:spPr>
              <a:xfrm>
                <a:off x="9834083" y="493603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02" name="Freeform 201"/>
              <p:cNvSpPr/>
              <p:nvPr/>
            </p:nvSpPr>
            <p:spPr>
              <a:xfrm>
                <a:off x="9834083" y="486293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03" name="Freeform 202"/>
              <p:cNvSpPr/>
              <p:nvPr/>
            </p:nvSpPr>
            <p:spPr>
              <a:xfrm>
                <a:off x="9834083" y="4792341"/>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04" name="Freeform 203"/>
              <p:cNvSpPr/>
              <p:nvPr/>
            </p:nvSpPr>
            <p:spPr>
              <a:xfrm>
                <a:off x="9834083" y="4719236"/>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05" name="Freeform 204"/>
              <p:cNvSpPr/>
              <p:nvPr/>
            </p:nvSpPr>
            <p:spPr>
              <a:xfrm>
                <a:off x="9834083" y="4646130"/>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111" name="Group 110"/>
            <p:cNvGrpSpPr/>
            <p:nvPr>
              <p:custDataLst>
                <p:tags r:id="rId37"/>
              </p:custDataLst>
            </p:nvPr>
          </p:nvGrpSpPr>
          <p:grpSpPr>
            <a:xfrm>
              <a:off x="7843209" y="6327990"/>
              <a:ext cx="517512" cy="1252636"/>
              <a:chOff x="9834083" y="4646130"/>
              <a:chExt cx="345952" cy="837376"/>
            </a:xfrm>
          </p:grpSpPr>
          <p:sp>
            <p:nvSpPr>
              <p:cNvPr id="188" name="Freeform 187"/>
              <p:cNvSpPr/>
              <p:nvPr/>
            </p:nvSpPr>
            <p:spPr>
              <a:xfrm>
                <a:off x="9834083" y="522918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9" name="Freeform 188"/>
              <p:cNvSpPr/>
              <p:nvPr/>
            </p:nvSpPr>
            <p:spPr>
              <a:xfrm>
                <a:off x="9834083" y="515607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0" name="Freeform 189"/>
              <p:cNvSpPr/>
              <p:nvPr/>
            </p:nvSpPr>
            <p:spPr>
              <a:xfrm>
                <a:off x="9834083" y="508297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190"/>
              <p:cNvSpPr/>
              <p:nvPr/>
            </p:nvSpPr>
            <p:spPr>
              <a:xfrm>
                <a:off x="9834083" y="500914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2" name="Freeform 191"/>
              <p:cNvSpPr/>
              <p:nvPr/>
            </p:nvSpPr>
            <p:spPr>
              <a:xfrm>
                <a:off x="9834083" y="493603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3" name="Freeform 192"/>
              <p:cNvSpPr/>
              <p:nvPr/>
            </p:nvSpPr>
            <p:spPr>
              <a:xfrm>
                <a:off x="9834083" y="486293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Freeform 193"/>
              <p:cNvSpPr/>
              <p:nvPr/>
            </p:nvSpPr>
            <p:spPr>
              <a:xfrm>
                <a:off x="9834083" y="4792341"/>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5" name="Freeform 194"/>
              <p:cNvSpPr/>
              <p:nvPr/>
            </p:nvSpPr>
            <p:spPr>
              <a:xfrm>
                <a:off x="9834083" y="4719236"/>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6" name="Freeform 195"/>
              <p:cNvSpPr/>
              <p:nvPr/>
            </p:nvSpPr>
            <p:spPr>
              <a:xfrm>
                <a:off x="9834083" y="4646130"/>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3" name="Freeform 6"/>
            <p:cNvSpPr>
              <a:spLocks/>
            </p:cNvSpPr>
            <p:nvPr/>
          </p:nvSpPr>
          <p:spPr bwMode="auto">
            <a:xfrm>
              <a:off x="9542662" y="6334580"/>
              <a:ext cx="1770606" cy="118674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4" name="Group 163"/>
            <p:cNvGrpSpPr/>
            <p:nvPr>
              <p:custDataLst>
                <p:tags r:id="rId38"/>
              </p:custDataLst>
            </p:nvPr>
          </p:nvGrpSpPr>
          <p:grpSpPr>
            <a:xfrm>
              <a:off x="9895982" y="6412367"/>
              <a:ext cx="447793" cy="1083882"/>
              <a:chOff x="9613321" y="4646130"/>
              <a:chExt cx="345952" cy="837376"/>
            </a:xfrm>
          </p:grpSpPr>
          <p:sp>
            <p:nvSpPr>
              <p:cNvPr id="175" name="Freeform 174"/>
              <p:cNvSpPr/>
              <p:nvPr/>
            </p:nvSpPr>
            <p:spPr>
              <a:xfrm>
                <a:off x="9613321" y="522918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6" name="Freeform 175"/>
              <p:cNvSpPr/>
              <p:nvPr/>
            </p:nvSpPr>
            <p:spPr>
              <a:xfrm>
                <a:off x="9613321" y="515607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7" name="Freeform 176"/>
              <p:cNvSpPr/>
              <p:nvPr/>
            </p:nvSpPr>
            <p:spPr>
              <a:xfrm>
                <a:off x="9613321" y="508297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8" name="Freeform 177"/>
              <p:cNvSpPr/>
              <p:nvPr/>
            </p:nvSpPr>
            <p:spPr>
              <a:xfrm>
                <a:off x="9613321" y="500914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9" name="Freeform 178"/>
              <p:cNvSpPr/>
              <p:nvPr/>
            </p:nvSpPr>
            <p:spPr>
              <a:xfrm>
                <a:off x="9613321" y="493603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0" name="Freeform 179"/>
              <p:cNvSpPr/>
              <p:nvPr/>
            </p:nvSpPr>
            <p:spPr>
              <a:xfrm>
                <a:off x="9613321" y="486293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1" name="Freeform 180"/>
              <p:cNvSpPr/>
              <p:nvPr/>
            </p:nvSpPr>
            <p:spPr>
              <a:xfrm>
                <a:off x="9613321" y="4792341"/>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2" name="Freeform 181"/>
              <p:cNvSpPr/>
              <p:nvPr/>
            </p:nvSpPr>
            <p:spPr>
              <a:xfrm>
                <a:off x="9613321" y="4719236"/>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3" name="Freeform 182"/>
              <p:cNvSpPr/>
              <p:nvPr/>
            </p:nvSpPr>
            <p:spPr>
              <a:xfrm>
                <a:off x="9613321" y="4646130"/>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165" name="Group 164"/>
            <p:cNvGrpSpPr/>
            <p:nvPr>
              <p:custDataLst>
                <p:tags r:id="rId39"/>
              </p:custDataLst>
            </p:nvPr>
          </p:nvGrpSpPr>
          <p:grpSpPr>
            <a:xfrm>
              <a:off x="10520069" y="6412367"/>
              <a:ext cx="447794" cy="1083882"/>
              <a:chOff x="9548931" y="4646130"/>
              <a:chExt cx="345953" cy="837376"/>
            </a:xfrm>
          </p:grpSpPr>
          <p:sp>
            <p:nvSpPr>
              <p:cNvPr id="166" name="Freeform 165"/>
              <p:cNvSpPr/>
              <p:nvPr/>
            </p:nvSpPr>
            <p:spPr>
              <a:xfrm>
                <a:off x="9548931" y="522918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7" name="Freeform 166"/>
              <p:cNvSpPr/>
              <p:nvPr/>
            </p:nvSpPr>
            <p:spPr>
              <a:xfrm>
                <a:off x="9548931" y="515607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8" name="Freeform 167"/>
              <p:cNvSpPr/>
              <p:nvPr/>
            </p:nvSpPr>
            <p:spPr>
              <a:xfrm>
                <a:off x="9548931" y="508297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9" name="Freeform 168"/>
              <p:cNvSpPr/>
              <p:nvPr/>
            </p:nvSpPr>
            <p:spPr>
              <a:xfrm>
                <a:off x="9548931" y="5009144"/>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0" name="Freeform 169"/>
              <p:cNvSpPr/>
              <p:nvPr/>
            </p:nvSpPr>
            <p:spPr>
              <a:xfrm>
                <a:off x="9548931" y="4936039"/>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1" name="Freeform 170"/>
              <p:cNvSpPr/>
              <p:nvPr/>
            </p:nvSpPr>
            <p:spPr>
              <a:xfrm>
                <a:off x="9548931" y="4862933"/>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Freeform 171"/>
              <p:cNvSpPr/>
              <p:nvPr/>
            </p:nvSpPr>
            <p:spPr>
              <a:xfrm>
                <a:off x="9548931" y="4792341"/>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Freeform 172"/>
              <p:cNvSpPr/>
              <p:nvPr/>
            </p:nvSpPr>
            <p:spPr>
              <a:xfrm>
                <a:off x="9548931" y="4719236"/>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4" name="Freeform 173"/>
              <p:cNvSpPr/>
              <p:nvPr/>
            </p:nvSpPr>
            <p:spPr>
              <a:xfrm>
                <a:off x="9548932" y="4646130"/>
                <a:ext cx="345952" cy="254322"/>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1"/>
              </a:solidFill>
              <a:ln w="3175">
                <a:solidFill>
                  <a:schemeClr val="accent6"/>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08" name="Group 207"/>
            <p:cNvGrpSpPr/>
            <p:nvPr/>
          </p:nvGrpSpPr>
          <p:grpSpPr bwMode="black">
            <a:xfrm>
              <a:off x="4376587" y="6780213"/>
              <a:ext cx="895245" cy="539115"/>
              <a:chOff x="863600" y="2393157"/>
              <a:chExt cx="876300" cy="527844"/>
            </a:xfrm>
            <a:solidFill>
              <a:schemeClr val="tx1"/>
            </a:solidFill>
          </p:grpSpPr>
          <p:sp>
            <p:nvSpPr>
              <p:cNvPr id="209" name="Freeform 208"/>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10"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nvGrpSpPr>
            <p:cNvPr id="211" name="Group 210"/>
            <p:cNvGrpSpPr/>
            <p:nvPr/>
          </p:nvGrpSpPr>
          <p:grpSpPr bwMode="black">
            <a:xfrm>
              <a:off x="5433227" y="6780213"/>
              <a:ext cx="895245" cy="539115"/>
              <a:chOff x="863600" y="2393157"/>
              <a:chExt cx="876300" cy="527844"/>
            </a:xfrm>
            <a:solidFill>
              <a:schemeClr val="tx1"/>
            </a:solidFill>
          </p:grpSpPr>
          <p:sp>
            <p:nvSpPr>
              <p:cNvPr id="212" name="Freeform 211"/>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13"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aphicFrame>
        <p:nvGraphicFramePr>
          <p:cNvPr id="69" name="Object 68" hidden="1"/>
          <p:cNvGraphicFramePr>
            <a:graphicFrameLocks noChangeAspect="1"/>
          </p:cNvGraphicFramePr>
          <p:nvPr>
            <p:custDataLst>
              <p:tags r:id="rId2"/>
            </p:custDataLst>
            <p:extLst>
              <p:ext uri="{D42A27DB-BD31-4B8C-83A1-F6EECF244321}">
                <p14:modId xmlns:p14="http://schemas.microsoft.com/office/powerpoint/2010/main" val="42564572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5"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p>
            <a:r>
              <a:rPr lang="en-US" dirty="0"/>
              <a:t>HPC Server </a:t>
            </a:r>
            <a:r>
              <a:rPr lang="en-US" dirty="0" smtClean="0"/>
              <a:t>Makes </a:t>
            </a:r>
            <a:r>
              <a:rPr lang="en-US" dirty="0"/>
              <a:t>T</a:t>
            </a:r>
            <a:r>
              <a:rPr lang="en-US" dirty="0" smtClean="0"/>
              <a:t>his </a:t>
            </a:r>
            <a:r>
              <a:rPr lang="en-US" dirty="0"/>
              <a:t>E</a:t>
            </a:r>
            <a:r>
              <a:rPr lang="en-US" dirty="0" smtClean="0"/>
              <a:t>asy</a:t>
            </a:r>
            <a:endParaRPr lang="en-US" dirty="0"/>
          </a:p>
        </p:txBody>
      </p:sp>
      <p:sp>
        <p:nvSpPr>
          <p:cNvPr id="103" name="Rectangle 102"/>
          <p:cNvSpPr/>
          <p:nvPr>
            <p:custDataLst>
              <p:tags r:id="rId4"/>
            </p:custDataLst>
          </p:nvPr>
        </p:nvSpPr>
        <p:spPr bwMode="auto">
          <a:xfrm>
            <a:off x="3997453" y="1141413"/>
            <a:ext cx="7678610" cy="274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Windows HPC Application</a:t>
            </a:r>
          </a:p>
        </p:txBody>
      </p:sp>
      <p:grpSp>
        <p:nvGrpSpPr>
          <p:cNvPr id="16409" name="Group 16408"/>
          <p:cNvGrpSpPr/>
          <p:nvPr>
            <p:custDataLst>
              <p:tags r:id="rId5"/>
            </p:custDataLst>
          </p:nvPr>
        </p:nvGrpSpPr>
        <p:grpSpPr>
          <a:xfrm>
            <a:off x="1251108" y="4856975"/>
            <a:ext cx="1641796" cy="1480745"/>
            <a:chOff x="1251108" y="4856975"/>
            <a:chExt cx="1641796" cy="1480745"/>
          </a:xfrm>
        </p:grpSpPr>
        <p:sp>
          <p:nvSpPr>
            <p:cNvPr id="125" name="Freeform 124"/>
            <p:cNvSpPr/>
            <p:nvPr>
              <p:custDataLst>
                <p:tags r:id="rId30"/>
              </p:custDataLst>
            </p:nvPr>
          </p:nvSpPr>
          <p:spPr>
            <a:xfrm>
              <a:off x="1446530" y="4856975"/>
              <a:ext cx="1250950" cy="919620"/>
            </a:xfrm>
            <a:custGeom>
              <a:avLst/>
              <a:gdLst/>
              <a:ahLst/>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close/>
                  <a:moveTo>
                    <a:pt x="1281380" y="1867205"/>
                  </a:moveTo>
                  <a:lnTo>
                    <a:pt x="1281380" y="1995530"/>
                  </a:lnTo>
                  <a:lnTo>
                    <a:pt x="1828150" y="2307971"/>
                  </a:lnTo>
                  <a:lnTo>
                    <a:pt x="1828150" y="2190806"/>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close/>
                  <a:moveTo>
                    <a:pt x="2276354" y="0"/>
                  </a:moveTo>
                  <a:lnTo>
                    <a:pt x="4098925" y="1063786"/>
                  </a:lnTo>
                  <a:lnTo>
                    <a:pt x="4098925" y="1740741"/>
                  </a:lnTo>
                  <a:lnTo>
                    <a:pt x="2373062" y="2722698"/>
                  </a:lnTo>
                  <a:lnTo>
                    <a:pt x="2373062" y="2164768"/>
                  </a:lnTo>
                  <a:lnTo>
                    <a:pt x="453783" y="1063786"/>
                  </a:lnTo>
                  <a:close/>
                </a:path>
              </a:pathLst>
            </a:custGeom>
            <a:solidFill>
              <a:schemeClr val="bg2">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385" name="Rectangle 16384"/>
            <p:cNvSpPr/>
            <p:nvPr>
              <p:custDataLst>
                <p:tags r:id="rId31"/>
              </p:custDataLst>
            </p:nvPr>
          </p:nvSpPr>
          <p:spPr>
            <a:xfrm>
              <a:off x="1251108" y="5752945"/>
              <a:ext cx="1641796" cy="584775"/>
            </a:xfrm>
            <a:prstGeom prst="rect">
              <a:avLst/>
            </a:prstGeom>
          </p:spPr>
          <p:txBody>
            <a:bodyPr wrap="none">
              <a:spAutoFit/>
            </a:bodyPr>
            <a:lstStyle/>
            <a:p>
              <a:pPr algn="ctr" defTabSz="913788" fontAlgn="base">
                <a:spcBef>
                  <a:spcPct val="0"/>
                </a:spcBef>
                <a:spcAft>
                  <a:spcPct val="0"/>
                </a:spcAft>
              </a:pPr>
              <a:r>
                <a:rPr lang="en-US" sz="1600" dirty="0">
                  <a:ln>
                    <a:solidFill>
                      <a:schemeClr val="bg1">
                        <a:alpha val="0"/>
                      </a:schemeClr>
                    </a:solidFill>
                  </a:ln>
                  <a:solidFill>
                    <a:srgbClr val="595959"/>
                  </a:solidFill>
                </a:rPr>
                <a:t>Head </a:t>
              </a:r>
              <a:r>
                <a:rPr lang="en-US" sz="1600" dirty="0" smtClean="0">
                  <a:ln>
                    <a:solidFill>
                      <a:schemeClr val="bg1">
                        <a:alpha val="0"/>
                      </a:schemeClr>
                    </a:solidFill>
                  </a:ln>
                  <a:solidFill>
                    <a:srgbClr val="595959"/>
                  </a:solidFill>
                </a:rPr>
                <a:t>Node</a:t>
              </a:r>
            </a:p>
            <a:p>
              <a:pPr algn="ctr" defTabSz="913788" fontAlgn="base">
                <a:spcBef>
                  <a:spcPct val="0"/>
                </a:spcBef>
                <a:spcAft>
                  <a:spcPct val="0"/>
                </a:spcAft>
              </a:pPr>
              <a:r>
                <a:rPr lang="en-US" sz="1600" dirty="0" smtClean="0">
                  <a:ln>
                    <a:solidFill>
                      <a:schemeClr val="bg1">
                        <a:alpha val="0"/>
                      </a:schemeClr>
                    </a:solidFill>
                  </a:ln>
                  <a:solidFill>
                    <a:srgbClr val="595959"/>
                  </a:solidFill>
                </a:rPr>
                <a:t>(Physical or VM)</a:t>
              </a:r>
              <a:endParaRPr lang="en-US" sz="1600" dirty="0">
                <a:ln>
                  <a:solidFill>
                    <a:schemeClr val="bg1">
                      <a:alpha val="0"/>
                    </a:schemeClr>
                  </a:solidFill>
                </a:ln>
                <a:solidFill>
                  <a:srgbClr val="595959"/>
                </a:solidFill>
              </a:endParaRPr>
            </a:p>
          </p:txBody>
        </p:sp>
      </p:grpSp>
      <p:grpSp>
        <p:nvGrpSpPr>
          <p:cNvPr id="16410" name="Group 16409"/>
          <p:cNvGrpSpPr/>
          <p:nvPr>
            <p:custDataLst>
              <p:tags r:id="rId6"/>
            </p:custDataLst>
          </p:nvPr>
        </p:nvGrpSpPr>
        <p:grpSpPr>
          <a:xfrm>
            <a:off x="517525" y="2371091"/>
            <a:ext cx="3108960" cy="2773680"/>
            <a:chOff x="517525" y="2371091"/>
            <a:chExt cx="3108960" cy="2773680"/>
          </a:xfrm>
        </p:grpSpPr>
        <p:sp>
          <p:nvSpPr>
            <p:cNvPr id="124" name="Rectangle 123"/>
            <p:cNvSpPr/>
            <p:nvPr>
              <p:custDataLst>
                <p:tags r:id="rId28"/>
              </p:custDataLst>
            </p:nvPr>
          </p:nvSpPr>
          <p:spPr bwMode="auto">
            <a:xfrm>
              <a:off x="517525" y="2371091"/>
              <a:ext cx="3108960"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latin typeface="Segoe UI Light" pitchFamily="34" charset="0"/>
                </a:rPr>
                <a:t>Windows </a:t>
              </a:r>
              <a:r>
                <a:rPr lang="en-US" dirty="0" smtClean="0">
                  <a:ln>
                    <a:solidFill>
                      <a:schemeClr val="bg1">
                        <a:alpha val="0"/>
                      </a:schemeClr>
                    </a:solidFill>
                  </a:ln>
                  <a:gradFill>
                    <a:gsLst>
                      <a:gs pos="0">
                        <a:srgbClr val="FFFFFF"/>
                      </a:gs>
                      <a:gs pos="100000">
                        <a:srgbClr val="FFFFFF"/>
                      </a:gs>
                    </a:gsLst>
                    <a:lin ang="5400000" scaled="0"/>
                  </a:gradFill>
                  <a:latin typeface="Segoe UI Light" pitchFamily="34" charset="0"/>
                </a:rPr>
                <a:t>HPC Server</a:t>
              </a:r>
              <a:endParaRPr lang="en-US" dirty="0">
                <a:ln>
                  <a:solidFill>
                    <a:schemeClr val="bg1">
                      <a:alpha val="0"/>
                    </a:schemeClr>
                  </a:solidFill>
                </a:ln>
                <a:gradFill>
                  <a:gsLst>
                    <a:gs pos="0">
                      <a:srgbClr val="FFFFFF"/>
                    </a:gs>
                    <a:gs pos="100000">
                      <a:srgbClr val="FFFFFF"/>
                    </a:gs>
                  </a:gsLst>
                  <a:lin ang="5400000" scaled="0"/>
                </a:gradFill>
                <a:latin typeface="Segoe UI Light" pitchFamily="34" charset="0"/>
              </a:endParaRPr>
            </a:p>
          </p:txBody>
        </p:sp>
        <p:sp>
          <p:nvSpPr>
            <p:cNvPr id="131" name="Isosceles Triangle 130"/>
            <p:cNvSpPr/>
            <p:nvPr>
              <p:custDataLst>
                <p:tags r:id="rId29"/>
              </p:custDataLst>
            </p:nvPr>
          </p:nvSpPr>
          <p:spPr bwMode="auto">
            <a:xfrm rot="10800000">
              <a:off x="517525" y="4230371"/>
              <a:ext cx="3108960" cy="914400"/>
            </a:xfrm>
            <a:prstGeom prst="triangle">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cxnSp>
        <p:nvCxnSpPr>
          <p:cNvPr id="16407" name="Elbow Connector 16406"/>
          <p:cNvCxnSpPr>
            <a:stCxn id="127" idx="3"/>
            <a:endCxn id="102" idx="1"/>
          </p:cNvCxnSpPr>
          <p:nvPr>
            <p:custDataLst>
              <p:tags r:id="rId7"/>
            </p:custDataLst>
          </p:nvPr>
        </p:nvCxnSpPr>
        <p:spPr>
          <a:xfrm>
            <a:off x="3489325" y="3262631"/>
            <a:ext cx="680720" cy="1782444"/>
          </a:xfrm>
          <a:prstGeom prst="bentConnector3">
            <a:avLst/>
          </a:prstGeom>
          <a:ln w="19050">
            <a:solidFill>
              <a:schemeClr val="accent6">
                <a:lumMod val="75000"/>
              </a:schemeClr>
            </a:solidFill>
            <a:prstDash val="sysDash"/>
            <a:tailEnd type="triangle" w="med" len="med"/>
          </a:ln>
        </p:spPr>
        <p:style>
          <a:lnRef idx="1">
            <a:schemeClr val="accent1"/>
          </a:lnRef>
          <a:fillRef idx="0">
            <a:schemeClr val="accent1"/>
          </a:fillRef>
          <a:effectRef idx="0">
            <a:schemeClr val="accent1"/>
          </a:effectRef>
          <a:fontRef idx="minor">
            <a:schemeClr val="tx1"/>
          </a:fontRef>
        </p:style>
      </p:cxnSp>
      <p:sp>
        <p:nvSpPr>
          <p:cNvPr id="126" name="Rectangle 125"/>
          <p:cNvSpPr/>
          <p:nvPr>
            <p:custDataLst>
              <p:tags r:id="rId8"/>
            </p:custDataLst>
          </p:nvPr>
        </p:nvSpPr>
        <p:spPr bwMode="auto">
          <a:xfrm>
            <a:off x="654685" y="2511800"/>
            <a:ext cx="2834640" cy="4114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ctr" anchorCtr="0" compatLnSpc="1">
            <a:prstTxWarp prst="textNoShape">
              <a:avLst/>
            </a:prstTxWarp>
          </a:bodyPr>
          <a:lstStyle/>
          <a:p>
            <a:pPr algn="ctr" defTabSz="913788"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Job Scheduling</a:t>
            </a:r>
          </a:p>
        </p:txBody>
      </p:sp>
      <p:sp>
        <p:nvSpPr>
          <p:cNvPr id="127" name="Rectangle 126"/>
          <p:cNvSpPr/>
          <p:nvPr>
            <p:custDataLst>
              <p:tags r:id="rId9"/>
            </p:custDataLst>
          </p:nvPr>
        </p:nvSpPr>
        <p:spPr bwMode="auto">
          <a:xfrm>
            <a:off x="654685" y="3056891"/>
            <a:ext cx="2834640" cy="4114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ctr" anchorCtr="0" compatLnSpc="1">
            <a:prstTxWarp prst="textNoShape">
              <a:avLst/>
            </a:prstTxWarp>
          </a:bodyPr>
          <a:lstStyle/>
          <a:p>
            <a:pPr algn="ctr" defTabSz="913788" fontAlgn="base">
              <a:spcBef>
                <a:spcPct val="0"/>
              </a:spcBef>
              <a:spcAft>
                <a:spcPct val="0"/>
              </a:spcAft>
            </a:pPr>
            <a:r>
              <a:rPr lang="en-US" sz="1600" dirty="0">
                <a:ln>
                  <a:solidFill>
                    <a:schemeClr val="bg1">
                      <a:alpha val="0"/>
                    </a:schemeClr>
                  </a:solidFill>
                </a:ln>
                <a:solidFill>
                  <a:srgbClr val="595959"/>
                </a:solidFill>
              </a:rPr>
              <a:t>Cluster Management</a:t>
            </a:r>
          </a:p>
        </p:txBody>
      </p:sp>
      <p:grpSp>
        <p:nvGrpSpPr>
          <p:cNvPr id="16412" name="Group 16411"/>
          <p:cNvGrpSpPr/>
          <p:nvPr>
            <p:custDataLst>
              <p:tags r:id="rId10"/>
            </p:custDataLst>
          </p:nvPr>
        </p:nvGrpSpPr>
        <p:grpSpPr>
          <a:xfrm>
            <a:off x="1569085" y="1141413"/>
            <a:ext cx="1005840" cy="1370387"/>
            <a:chOff x="1569085" y="1141413"/>
            <a:chExt cx="1005840" cy="1370387"/>
          </a:xfrm>
        </p:grpSpPr>
        <p:sp>
          <p:nvSpPr>
            <p:cNvPr id="105" name="Rectangle 104"/>
            <p:cNvSpPr/>
            <p:nvPr>
              <p:custDataLst>
                <p:tags r:id="rId26"/>
              </p:custDataLst>
            </p:nvPr>
          </p:nvSpPr>
          <p:spPr bwMode="auto">
            <a:xfrm>
              <a:off x="1569085" y="1141413"/>
              <a:ext cx="100584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b" anchorCtr="0" compatLnSpc="1">
              <a:prstTxWarp prst="textNoShape">
                <a:avLst/>
              </a:prstTxWarp>
            </a:bodyPr>
            <a:lstStyle/>
            <a:p>
              <a:pPr defTabSz="913788" fontAlgn="base">
                <a:spcBef>
                  <a:spcPct val="0"/>
                </a:spcBef>
                <a:spcAft>
                  <a:spcPct val="0"/>
                </a:spcAft>
              </a:pPr>
              <a:r>
                <a:rPr lang="en-US" sz="1600" dirty="0" smtClean="0">
                  <a:ln>
                    <a:solidFill>
                      <a:schemeClr val="bg1">
                        <a:alpha val="0"/>
                      </a:schemeClr>
                    </a:solidFill>
                  </a:ln>
                  <a:gradFill>
                    <a:gsLst>
                      <a:gs pos="0">
                        <a:srgbClr val="FFFFFF"/>
                      </a:gs>
                      <a:gs pos="100000">
                        <a:srgbClr val="FFFFFF"/>
                      </a:gs>
                    </a:gsLst>
                    <a:lin ang="5400000" scaled="0"/>
                  </a:gradFill>
                </a:rPr>
                <a:t>Client</a:t>
              </a:r>
              <a:endParaRPr lang="en-US" sz="1600" dirty="0">
                <a:ln>
                  <a:solidFill>
                    <a:schemeClr val="bg1">
                      <a:alpha val="0"/>
                    </a:schemeClr>
                  </a:solidFill>
                </a:ln>
                <a:gradFill>
                  <a:gsLst>
                    <a:gs pos="0">
                      <a:srgbClr val="FFFFFF"/>
                    </a:gs>
                    <a:gs pos="100000">
                      <a:srgbClr val="FFFFFF"/>
                    </a:gs>
                  </a:gsLst>
                  <a:lin ang="5400000" scaled="0"/>
                </a:gradFill>
              </a:endParaRPr>
            </a:p>
          </p:txBody>
        </p:sp>
        <p:cxnSp>
          <p:nvCxnSpPr>
            <p:cNvPr id="279" name="Straight Arrow Connector 278"/>
            <p:cNvCxnSpPr>
              <a:stCxn id="105" idx="2"/>
              <a:endCxn id="126" idx="0"/>
            </p:cNvCxnSpPr>
            <p:nvPr>
              <p:custDataLst>
                <p:tags r:id="rId27"/>
              </p:custDataLst>
            </p:nvPr>
          </p:nvCxnSpPr>
          <p:spPr>
            <a:xfrm>
              <a:off x="2072005" y="2147253"/>
              <a:ext cx="0" cy="364547"/>
            </a:xfrm>
            <a:prstGeom prst="straightConnector1">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1953968" y="1190053"/>
            <a:ext cx="263938" cy="670459"/>
            <a:chOff x="7558088" y="1685925"/>
            <a:chExt cx="1322387" cy="3359150"/>
          </a:xfrm>
          <a:solidFill>
            <a:schemeClr val="bg1"/>
          </a:solidFill>
        </p:grpSpPr>
        <p:sp>
          <p:nvSpPr>
            <p:cNvPr id="88"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8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413" name="Group 16412"/>
          <p:cNvGrpSpPr/>
          <p:nvPr>
            <p:custDataLst>
              <p:tags r:id="rId11"/>
            </p:custDataLst>
          </p:nvPr>
        </p:nvGrpSpPr>
        <p:grpSpPr>
          <a:xfrm>
            <a:off x="4718685" y="2889251"/>
            <a:ext cx="1280160" cy="1859280"/>
            <a:chOff x="4718685" y="2889251"/>
            <a:chExt cx="1280160" cy="1859280"/>
          </a:xfrm>
        </p:grpSpPr>
        <p:sp>
          <p:nvSpPr>
            <p:cNvPr id="119" name="Rectangle 118"/>
            <p:cNvSpPr/>
            <p:nvPr>
              <p:custDataLst>
                <p:tags r:id="rId23"/>
              </p:custDataLst>
            </p:nvPr>
          </p:nvSpPr>
          <p:spPr bwMode="auto">
            <a:xfrm>
              <a:off x="4718685" y="2889251"/>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b" anchorCtr="0" compatLnSpc="1">
              <a:prstTxWarp prst="textNoShape">
                <a:avLst/>
              </a:prstTxWarp>
            </a:bodyPr>
            <a:lstStyle/>
            <a:p>
              <a:pPr defTabSz="913788" fontAlgn="base">
                <a:spcBef>
                  <a:spcPct val="0"/>
                </a:spcBef>
                <a:spcAft>
                  <a:spcPct val="0"/>
                </a:spcAft>
              </a:pPr>
              <a:r>
                <a:rPr lang="en-US" sz="1600" dirty="0" smtClean="0">
                  <a:ln>
                    <a:solidFill>
                      <a:schemeClr val="bg1">
                        <a:alpha val="0"/>
                      </a:schemeClr>
                    </a:solidFill>
                  </a:ln>
                  <a:solidFill>
                    <a:schemeClr val="bg1"/>
                  </a:solidFill>
                </a:rPr>
                <a:t>Logic</a:t>
              </a:r>
              <a:endParaRPr lang="en-US" sz="1600" dirty="0">
                <a:ln>
                  <a:solidFill>
                    <a:schemeClr val="bg1">
                      <a:alpha val="0"/>
                    </a:schemeClr>
                  </a:solidFill>
                </a:ln>
                <a:solidFill>
                  <a:schemeClr val="bg1"/>
                </a:solidFill>
              </a:endParaRPr>
            </a:p>
          </p:txBody>
        </p:sp>
        <p:pic>
          <p:nvPicPr>
            <p:cNvPr id="120" name="Picture 11" descr="F:\Bada\Customer\Artitude Designs\Wenwen Ni\2011\Dec 02\png\Untitled-2a.png"/>
            <p:cNvPicPr>
              <a:picLocks noChangeAspect="1" noChangeArrowheads="1"/>
            </p:cNvPicPr>
            <p:nvPr>
              <p:custDataLst>
                <p:tags r:id="rId24"/>
              </p:custDataLst>
            </p:nvPr>
          </p:nvPicPr>
          <p:blipFill>
            <a:blip r:embed="rId4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84445" y="2947164"/>
              <a:ext cx="548640" cy="613777"/>
            </a:xfrm>
            <a:prstGeom prst="rect">
              <a:avLst/>
            </a:prstGeom>
            <a:noFill/>
            <a:extLst>
              <a:ext uri="{909E8E84-426E-40DD-AFC4-6F175D3DCCD1}">
                <a14:hiddenFill xmlns:a14="http://schemas.microsoft.com/office/drawing/2010/main">
                  <a:solidFill>
                    <a:srgbClr val="FFFFFF"/>
                  </a:solidFill>
                </a14:hiddenFill>
              </a:ext>
            </a:extLst>
          </p:spPr>
        </p:pic>
        <p:sp>
          <p:nvSpPr>
            <p:cNvPr id="16389" name="Isosceles Triangle 16388"/>
            <p:cNvSpPr/>
            <p:nvPr>
              <p:custDataLst>
                <p:tags r:id="rId25"/>
              </p:custDataLst>
            </p:nvPr>
          </p:nvSpPr>
          <p:spPr bwMode="auto">
            <a:xfrm rot="10800000">
              <a:off x="4718685" y="3834131"/>
              <a:ext cx="1280160" cy="914400"/>
            </a:xfrm>
            <a:prstGeom prst="triangle">
              <a:avLst>
                <a:gd name="adj" fmla="val 50000"/>
              </a:avLst>
            </a:prstGeom>
            <a:solidFill>
              <a:schemeClr val="accent4">
                <a:lumMod val="40000"/>
                <a:lumOff val="60000"/>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16414" name="Group 16413"/>
          <p:cNvGrpSpPr/>
          <p:nvPr>
            <p:custDataLst>
              <p:tags r:id="rId12"/>
            </p:custDataLst>
          </p:nvPr>
        </p:nvGrpSpPr>
        <p:grpSpPr>
          <a:xfrm>
            <a:off x="7187565" y="1600950"/>
            <a:ext cx="1280160" cy="2784080"/>
            <a:chOff x="7187565" y="1600950"/>
            <a:chExt cx="1280160" cy="2784080"/>
          </a:xfrm>
        </p:grpSpPr>
        <p:sp>
          <p:nvSpPr>
            <p:cNvPr id="122" name="Rectangle 121"/>
            <p:cNvSpPr/>
            <p:nvPr>
              <p:custDataLst>
                <p:tags r:id="rId20"/>
              </p:custDataLst>
            </p:nvPr>
          </p:nvSpPr>
          <p:spPr bwMode="auto">
            <a:xfrm>
              <a:off x="7187565" y="1600950"/>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b" anchorCtr="0" compatLnSpc="1">
              <a:prstTxWarp prst="textNoShape">
                <a:avLst/>
              </a:prstTxWarp>
            </a:bodyPr>
            <a:lstStyle/>
            <a:p>
              <a:pPr defTabSz="913788" fontAlgn="base">
                <a:spcBef>
                  <a:spcPct val="0"/>
                </a:spcBef>
                <a:spcAft>
                  <a:spcPct val="0"/>
                </a:spcAft>
              </a:pPr>
              <a:r>
                <a:rPr lang="en-US" sz="1600" dirty="0">
                  <a:ln>
                    <a:solidFill>
                      <a:schemeClr val="bg1">
                        <a:alpha val="0"/>
                      </a:schemeClr>
                    </a:solidFill>
                  </a:ln>
                  <a:solidFill>
                    <a:schemeClr val="bg1"/>
                  </a:solidFill>
                </a:rPr>
                <a:t>Logic</a:t>
              </a:r>
            </a:p>
          </p:txBody>
        </p:sp>
        <p:pic>
          <p:nvPicPr>
            <p:cNvPr id="123" name="Picture 11" descr="F:\Bada\Customer\Artitude Designs\Wenwen Ni\2011\Dec 02\png\Untitled-2a.png"/>
            <p:cNvPicPr>
              <a:picLocks noChangeAspect="1" noChangeArrowheads="1"/>
            </p:cNvPicPr>
            <p:nvPr>
              <p:custDataLst>
                <p:tags r:id="rId21"/>
              </p:custDataLst>
            </p:nvPr>
          </p:nvPicPr>
          <p:blipFill>
            <a:blip r:embed="rId4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53325" y="1658863"/>
              <a:ext cx="548640" cy="613777"/>
            </a:xfrm>
            <a:prstGeom prst="rect">
              <a:avLst/>
            </a:prstGeom>
            <a:noFill/>
            <a:extLst>
              <a:ext uri="{909E8E84-426E-40DD-AFC4-6F175D3DCCD1}">
                <a14:hiddenFill xmlns:a14="http://schemas.microsoft.com/office/drawing/2010/main">
                  <a:solidFill>
                    <a:srgbClr val="FFFFFF"/>
                  </a:solidFill>
                </a14:hiddenFill>
              </a:ext>
            </a:extLst>
          </p:spPr>
        </p:pic>
        <p:sp>
          <p:nvSpPr>
            <p:cNvPr id="287" name="Isosceles Triangle 286"/>
            <p:cNvSpPr/>
            <p:nvPr>
              <p:custDataLst>
                <p:tags r:id="rId22"/>
              </p:custDataLst>
            </p:nvPr>
          </p:nvSpPr>
          <p:spPr bwMode="auto">
            <a:xfrm rot="10800000">
              <a:off x="7187565" y="2524898"/>
              <a:ext cx="1280160" cy="1860132"/>
            </a:xfrm>
            <a:prstGeom prst="triangle">
              <a:avLst>
                <a:gd name="adj" fmla="val 51190"/>
              </a:avLst>
            </a:prstGeom>
            <a:solidFill>
              <a:schemeClr val="accent4">
                <a:lumMod val="40000"/>
                <a:lumOff val="60000"/>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16415" name="Group 16414"/>
          <p:cNvGrpSpPr/>
          <p:nvPr>
            <p:custDataLst>
              <p:tags r:id="rId13"/>
            </p:custDataLst>
          </p:nvPr>
        </p:nvGrpSpPr>
        <p:grpSpPr>
          <a:xfrm>
            <a:off x="9788525" y="2260340"/>
            <a:ext cx="1280160" cy="2234048"/>
            <a:chOff x="9656445" y="2260340"/>
            <a:chExt cx="1280160" cy="2234048"/>
          </a:xfrm>
        </p:grpSpPr>
        <p:sp>
          <p:nvSpPr>
            <p:cNvPr id="116" name="Rectangle 115"/>
            <p:cNvSpPr/>
            <p:nvPr>
              <p:custDataLst>
                <p:tags r:id="rId17"/>
              </p:custDataLst>
            </p:nvPr>
          </p:nvSpPr>
          <p:spPr bwMode="auto">
            <a:xfrm>
              <a:off x="9656445" y="2260340"/>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20" numCol="1" spcCol="0" rtlCol="0" anchor="b" anchorCtr="0" compatLnSpc="1">
              <a:prstTxWarp prst="textNoShape">
                <a:avLst/>
              </a:prstTxWarp>
            </a:bodyPr>
            <a:lstStyle/>
            <a:p>
              <a:pPr defTabSz="913788" fontAlgn="base">
                <a:spcBef>
                  <a:spcPct val="0"/>
                </a:spcBef>
                <a:spcAft>
                  <a:spcPct val="0"/>
                </a:spcAft>
              </a:pPr>
              <a:r>
                <a:rPr lang="en-US" sz="1600" dirty="0">
                  <a:ln>
                    <a:solidFill>
                      <a:schemeClr val="bg1">
                        <a:alpha val="0"/>
                      </a:schemeClr>
                    </a:solidFill>
                  </a:ln>
                  <a:solidFill>
                    <a:schemeClr val="bg1"/>
                  </a:solidFill>
                </a:rPr>
                <a:t>Logic</a:t>
              </a:r>
            </a:p>
          </p:txBody>
        </p:sp>
        <p:pic>
          <p:nvPicPr>
            <p:cNvPr id="117" name="Picture 11" descr="F:\Bada\Customer\Artitude Designs\Wenwen Ni\2011\Dec 02\png\Untitled-2a.png"/>
            <p:cNvPicPr>
              <a:picLocks noChangeAspect="1" noChangeArrowheads="1"/>
            </p:cNvPicPr>
            <p:nvPr>
              <p:custDataLst>
                <p:tags r:id="rId18"/>
              </p:custDataLst>
            </p:nvPr>
          </p:nvPicPr>
          <p:blipFill>
            <a:blip r:embed="rId4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22205" y="2290714"/>
              <a:ext cx="548640" cy="613777"/>
            </a:xfrm>
            <a:prstGeom prst="rect">
              <a:avLst/>
            </a:prstGeom>
            <a:noFill/>
            <a:extLst>
              <a:ext uri="{909E8E84-426E-40DD-AFC4-6F175D3DCCD1}">
                <a14:hiddenFill xmlns:a14="http://schemas.microsoft.com/office/drawing/2010/main">
                  <a:solidFill>
                    <a:srgbClr val="FFFFFF"/>
                  </a:solidFill>
                </a14:hiddenFill>
              </a:ext>
            </a:extLst>
          </p:spPr>
        </p:pic>
        <p:sp>
          <p:nvSpPr>
            <p:cNvPr id="288" name="Isosceles Triangle 287"/>
            <p:cNvSpPr/>
            <p:nvPr>
              <p:custDataLst>
                <p:tags r:id="rId19"/>
              </p:custDataLst>
            </p:nvPr>
          </p:nvSpPr>
          <p:spPr bwMode="auto">
            <a:xfrm rot="10800000">
              <a:off x="9656445" y="3178374"/>
              <a:ext cx="1280160" cy="1316014"/>
            </a:xfrm>
            <a:prstGeom prst="triangle">
              <a:avLst>
                <a:gd name="adj" fmla="val 50000"/>
              </a:avLst>
            </a:prstGeom>
            <a:solidFill>
              <a:schemeClr val="accent4">
                <a:lumMod val="40000"/>
                <a:lumOff val="60000"/>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cxnSp>
        <p:nvCxnSpPr>
          <p:cNvPr id="16387" name="Straight Arrow Connector 16386"/>
          <p:cNvCxnSpPr>
            <a:stCxn id="126" idx="3"/>
            <a:endCxn id="116" idx="1"/>
          </p:cNvCxnSpPr>
          <p:nvPr>
            <p:custDataLst>
              <p:tags r:id="rId14"/>
            </p:custDataLst>
          </p:nvPr>
        </p:nvCxnSpPr>
        <p:spPr>
          <a:xfrm>
            <a:off x="3489325" y="2717540"/>
            <a:ext cx="6299200" cy="0"/>
          </a:xfrm>
          <a:prstGeom prst="straightConnector1">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stCxn id="126" idx="3"/>
          </p:cNvCxnSpPr>
          <p:nvPr>
            <p:custDataLst>
              <p:tags r:id="rId15"/>
            </p:custDataLst>
          </p:nvPr>
        </p:nvCxnSpPr>
        <p:spPr>
          <a:xfrm flipV="1">
            <a:off x="3489325" y="2058150"/>
            <a:ext cx="3698240" cy="659390"/>
          </a:xfrm>
          <a:prstGeom prst="straightConnector1">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6" name="Straight Arrow Connector 275"/>
          <p:cNvCxnSpPr>
            <a:stCxn id="126" idx="3"/>
            <a:endCxn id="119" idx="1"/>
          </p:cNvCxnSpPr>
          <p:nvPr>
            <p:custDataLst>
              <p:tags r:id="rId16"/>
            </p:custDataLst>
          </p:nvPr>
        </p:nvCxnSpPr>
        <p:spPr>
          <a:xfrm>
            <a:off x="3489325" y="2717540"/>
            <a:ext cx="1229360" cy="628911"/>
          </a:xfrm>
          <a:prstGeom prst="straightConnector1">
            <a:avLst/>
          </a:prstGeom>
          <a:ln w="25400">
            <a:solidFill>
              <a:schemeClr val="accent6">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507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409"/>
                                        </p:tgtEl>
                                        <p:attrNameLst>
                                          <p:attrName>style.visibility</p:attrName>
                                        </p:attrNameLst>
                                      </p:cBhvr>
                                      <p:to>
                                        <p:strVal val="visible"/>
                                      </p:to>
                                    </p:set>
                                    <p:animEffect transition="in" filter="fade">
                                      <p:cBhvr>
                                        <p:cTn id="12" dur="500"/>
                                        <p:tgtEl>
                                          <p:spTgt spid="1640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6410"/>
                                        </p:tgtEl>
                                        <p:attrNameLst>
                                          <p:attrName>style.visibility</p:attrName>
                                        </p:attrNameLst>
                                      </p:cBhvr>
                                      <p:to>
                                        <p:strVal val="visible"/>
                                      </p:to>
                                    </p:set>
                                    <p:animEffect transition="in" filter="wipe(down)">
                                      <p:cBhvr>
                                        <p:cTn id="17" dur="500"/>
                                        <p:tgtEl>
                                          <p:spTgt spid="164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7"/>
                                        </p:tgtEl>
                                        <p:attrNameLst>
                                          <p:attrName>style.visibility</p:attrName>
                                        </p:attrNameLst>
                                      </p:cBhvr>
                                      <p:to>
                                        <p:strVal val="visible"/>
                                      </p:to>
                                    </p:set>
                                    <p:animEffect transition="in" filter="fade">
                                      <p:cBhvr>
                                        <p:cTn id="22" dur="500"/>
                                        <p:tgtEl>
                                          <p:spTgt spid="127"/>
                                        </p:tgtEl>
                                      </p:cBhvr>
                                    </p:animEffect>
                                  </p:childTnLst>
                                </p:cTn>
                              </p:par>
                              <p:par>
                                <p:cTn id="23" presetID="22" presetClass="entr" presetSubtype="8" fill="hold" nodeType="withEffect">
                                  <p:stCondLst>
                                    <p:cond delay="0"/>
                                  </p:stCondLst>
                                  <p:childTnLst>
                                    <p:set>
                                      <p:cBhvr>
                                        <p:cTn id="24" dur="1" fill="hold">
                                          <p:stCondLst>
                                            <p:cond delay="0"/>
                                          </p:stCondLst>
                                        </p:cTn>
                                        <p:tgtEl>
                                          <p:spTgt spid="16407"/>
                                        </p:tgtEl>
                                        <p:attrNameLst>
                                          <p:attrName>style.visibility</p:attrName>
                                        </p:attrNameLst>
                                      </p:cBhvr>
                                      <p:to>
                                        <p:strVal val="visible"/>
                                      </p:to>
                                    </p:set>
                                    <p:animEffect transition="in" filter="wipe(left)">
                                      <p:cBhvr>
                                        <p:cTn id="25" dur="2000"/>
                                        <p:tgtEl>
                                          <p:spTgt spid="1640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26"/>
                                        </p:tgtEl>
                                        <p:attrNameLst>
                                          <p:attrName>style.visibility</p:attrName>
                                        </p:attrNameLst>
                                      </p:cBhvr>
                                      <p:to>
                                        <p:strVal val="visible"/>
                                      </p:to>
                                    </p:set>
                                    <p:animEffect transition="in" filter="fade">
                                      <p:cBhvr>
                                        <p:cTn id="30" dur="500"/>
                                        <p:tgtEl>
                                          <p:spTgt spid="12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16412"/>
                                        </p:tgtEl>
                                        <p:attrNameLst>
                                          <p:attrName>style.visibility</p:attrName>
                                        </p:attrNameLst>
                                      </p:cBhvr>
                                      <p:to>
                                        <p:strVal val="visible"/>
                                      </p:to>
                                    </p:set>
                                    <p:animEffect transition="in" filter="wipe(up)">
                                      <p:cBhvr>
                                        <p:cTn id="35" dur="500"/>
                                        <p:tgtEl>
                                          <p:spTgt spid="16412"/>
                                        </p:tgtEl>
                                      </p:cBhvr>
                                    </p:animEffect>
                                  </p:childTnLst>
                                </p:cTn>
                              </p:par>
                              <p:par>
                                <p:cTn id="36" presetID="22" presetClass="entr" presetSubtype="1" fill="hold" nodeType="withEffect">
                                  <p:stCondLst>
                                    <p:cond delay="0"/>
                                  </p:stCondLst>
                                  <p:childTnLst>
                                    <p:set>
                                      <p:cBhvr>
                                        <p:cTn id="37" dur="1" fill="hold">
                                          <p:stCondLst>
                                            <p:cond delay="0"/>
                                          </p:stCondLst>
                                        </p:cTn>
                                        <p:tgtEl>
                                          <p:spTgt spid="87"/>
                                        </p:tgtEl>
                                        <p:attrNameLst>
                                          <p:attrName>style.visibility</p:attrName>
                                        </p:attrNameLst>
                                      </p:cBhvr>
                                      <p:to>
                                        <p:strVal val="visible"/>
                                      </p:to>
                                    </p:set>
                                    <p:animEffect transition="in" filter="wipe(up)">
                                      <p:cBhvr>
                                        <p:cTn id="38" dur="500"/>
                                        <p:tgtEl>
                                          <p:spTgt spid="87"/>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276"/>
                                        </p:tgtEl>
                                        <p:attrNameLst>
                                          <p:attrName>style.visibility</p:attrName>
                                        </p:attrNameLst>
                                      </p:cBhvr>
                                      <p:to>
                                        <p:strVal val="visible"/>
                                      </p:to>
                                    </p:set>
                                    <p:animEffect transition="in" filter="wipe(left)">
                                      <p:cBhvr>
                                        <p:cTn id="43" dur="500"/>
                                        <p:tgtEl>
                                          <p:spTgt spid="276"/>
                                        </p:tgtEl>
                                      </p:cBhvr>
                                    </p:animEffect>
                                  </p:childTnLst>
                                </p:cTn>
                              </p:par>
                              <p:par>
                                <p:cTn id="44" presetID="22" presetClass="entr" presetSubtype="8" fill="hold" nodeType="withEffect">
                                  <p:stCondLst>
                                    <p:cond delay="0"/>
                                  </p:stCondLst>
                                  <p:childTnLst>
                                    <p:set>
                                      <p:cBhvr>
                                        <p:cTn id="45" dur="1" fill="hold">
                                          <p:stCondLst>
                                            <p:cond delay="0"/>
                                          </p:stCondLst>
                                        </p:cTn>
                                        <p:tgtEl>
                                          <p:spTgt spid="16387"/>
                                        </p:tgtEl>
                                        <p:attrNameLst>
                                          <p:attrName>style.visibility</p:attrName>
                                        </p:attrNameLst>
                                      </p:cBhvr>
                                      <p:to>
                                        <p:strVal val="visible"/>
                                      </p:to>
                                    </p:set>
                                    <p:animEffect transition="in" filter="wipe(left)">
                                      <p:cBhvr>
                                        <p:cTn id="46" dur="500"/>
                                        <p:tgtEl>
                                          <p:spTgt spid="16387"/>
                                        </p:tgtEl>
                                      </p:cBhvr>
                                    </p:animEffect>
                                  </p:childTnLst>
                                </p:cTn>
                              </p:par>
                              <p:par>
                                <p:cTn id="47" presetID="22" presetClass="entr" presetSubtype="8" fill="hold" nodeType="withEffect">
                                  <p:stCondLst>
                                    <p:cond delay="0"/>
                                  </p:stCondLst>
                                  <p:childTnLst>
                                    <p:set>
                                      <p:cBhvr>
                                        <p:cTn id="48" dur="1" fill="hold">
                                          <p:stCondLst>
                                            <p:cond delay="0"/>
                                          </p:stCondLst>
                                        </p:cTn>
                                        <p:tgtEl>
                                          <p:spTgt spid="273"/>
                                        </p:tgtEl>
                                        <p:attrNameLst>
                                          <p:attrName>style.visibility</p:attrName>
                                        </p:attrNameLst>
                                      </p:cBhvr>
                                      <p:to>
                                        <p:strVal val="visible"/>
                                      </p:to>
                                    </p:set>
                                    <p:animEffect transition="in" filter="wipe(left)">
                                      <p:cBhvr>
                                        <p:cTn id="49" dur="500"/>
                                        <p:tgtEl>
                                          <p:spTgt spid="273"/>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nodeType="clickEffect">
                                  <p:stCondLst>
                                    <p:cond delay="0"/>
                                  </p:stCondLst>
                                  <p:childTnLst>
                                    <p:set>
                                      <p:cBhvr>
                                        <p:cTn id="53" dur="1" fill="hold">
                                          <p:stCondLst>
                                            <p:cond delay="0"/>
                                          </p:stCondLst>
                                        </p:cTn>
                                        <p:tgtEl>
                                          <p:spTgt spid="16413"/>
                                        </p:tgtEl>
                                        <p:attrNameLst>
                                          <p:attrName>style.visibility</p:attrName>
                                        </p:attrNameLst>
                                      </p:cBhvr>
                                      <p:to>
                                        <p:strVal val="visible"/>
                                      </p:to>
                                    </p:set>
                                    <p:animEffect transition="in" filter="wipe(down)">
                                      <p:cBhvr>
                                        <p:cTn id="54" dur="500"/>
                                        <p:tgtEl>
                                          <p:spTgt spid="16413"/>
                                        </p:tgtEl>
                                      </p:cBhvr>
                                    </p:animEffect>
                                  </p:childTnLst>
                                </p:cTn>
                              </p:par>
                              <p:par>
                                <p:cTn id="55" presetID="22" presetClass="entr" presetSubtype="4" fill="hold" nodeType="withEffect">
                                  <p:stCondLst>
                                    <p:cond delay="0"/>
                                  </p:stCondLst>
                                  <p:childTnLst>
                                    <p:set>
                                      <p:cBhvr>
                                        <p:cTn id="56" dur="1" fill="hold">
                                          <p:stCondLst>
                                            <p:cond delay="0"/>
                                          </p:stCondLst>
                                        </p:cTn>
                                        <p:tgtEl>
                                          <p:spTgt spid="16414"/>
                                        </p:tgtEl>
                                        <p:attrNameLst>
                                          <p:attrName>style.visibility</p:attrName>
                                        </p:attrNameLst>
                                      </p:cBhvr>
                                      <p:to>
                                        <p:strVal val="visible"/>
                                      </p:to>
                                    </p:set>
                                    <p:animEffect transition="in" filter="wipe(down)">
                                      <p:cBhvr>
                                        <p:cTn id="57" dur="500"/>
                                        <p:tgtEl>
                                          <p:spTgt spid="16414"/>
                                        </p:tgtEl>
                                      </p:cBhvr>
                                    </p:animEffect>
                                  </p:childTnLst>
                                </p:cTn>
                              </p:par>
                              <p:par>
                                <p:cTn id="58" presetID="22" presetClass="entr" presetSubtype="4" fill="hold" nodeType="withEffect">
                                  <p:stCondLst>
                                    <p:cond delay="0"/>
                                  </p:stCondLst>
                                  <p:childTnLst>
                                    <p:set>
                                      <p:cBhvr>
                                        <p:cTn id="59" dur="1" fill="hold">
                                          <p:stCondLst>
                                            <p:cond delay="0"/>
                                          </p:stCondLst>
                                        </p:cTn>
                                        <p:tgtEl>
                                          <p:spTgt spid="16415"/>
                                        </p:tgtEl>
                                        <p:attrNameLst>
                                          <p:attrName>style.visibility</p:attrName>
                                        </p:attrNameLst>
                                      </p:cBhvr>
                                      <p:to>
                                        <p:strVal val="visible"/>
                                      </p:to>
                                    </p:set>
                                    <p:animEffect transition="in" filter="wipe(down)">
                                      <p:cBhvr>
                                        <p:cTn id="60" dur="500"/>
                                        <p:tgtEl>
                                          <p:spTgt spid="16415"/>
                                        </p:tgtEl>
                                      </p:cBhvr>
                                    </p:animEffect>
                                  </p:childTnLst>
                                </p:cTn>
                              </p:par>
                            </p:childTnLst>
                          </p:cTn>
                        </p:par>
                        <p:par>
                          <p:cTn id="61" fill="hold">
                            <p:stCondLst>
                              <p:cond delay="500"/>
                            </p:stCondLst>
                            <p:childTnLst>
                              <p:par>
                                <p:cTn id="62" presetID="10" presetClass="entr" presetSubtype="0" fill="hold" grpId="0" nodeType="afterEffect">
                                  <p:stCondLst>
                                    <p:cond delay="0"/>
                                  </p:stCondLst>
                                  <p:childTnLst>
                                    <p:set>
                                      <p:cBhvr>
                                        <p:cTn id="63" dur="1" fill="hold">
                                          <p:stCondLst>
                                            <p:cond delay="0"/>
                                          </p:stCondLst>
                                        </p:cTn>
                                        <p:tgtEl>
                                          <p:spTgt spid="103"/>
                                        </p:tgtEl>
                                        <p:attrNameLst>
                                          <p:attrName>style.visibility</p:attrName>
                                        </p:attrNameLst>
                                      </p:cBhvr>
                                      <p:to>
                                        <p:strVal val="visible"/>
                                      </p:to>
                                    </p:set>
                                    <p:animEffect transition="in" filter="fade">
                                      <p:cBhvr>
                                        <p:cTn id="64"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26" grpId="0" animBg="1"/>
      <p:bldP spid="12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qxRVVV3fEuxFqEF3XDd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zwRlDCpTku6RyKlo85p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nt4lAs.WEGRDjJYAxKa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7qBiE79EkKgCGqeZ2cJ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XNJWuXH9EybhQcjaKoA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gxVoEiW.UyW4fWvD2Fu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nfSDocFBEWjwPbeWZG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vwIT2LhnE.fr5JgW_KQ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LCLhgz9N0.U_fCTSNvBj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Wk_ArjzwEiUBl7elYrLm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NCsXKL4zke.JC.RTy8b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nOXJeORW0CJZ6pZyUa7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qx8YpvUIkWPy_jxRIFX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mSq4hPDDEuhXPRZLmVJ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wtMug0OP0ypXkl9kNvY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4diDgE59kCv2WDePDub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7ED6JyLU0ScCaQxd8b.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KxaTOUSe0Wrfnb0RLpq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3Qc_p6LB8UmDubJu1UrA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kEPlxLnQ0GM8bHJS8s0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f_G9B.yaki0j.ajNE_k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cKH2ES1T0qPbEXQ99Pb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yNONcbNT0aVR5zryll6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lg6nV63CEWdeqKqWquA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QAZ1YR4gU2ZRU.Gy6.Q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1A2uGqLU.NzOflBLMiN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HU.wtHu.0KtZlfgj7sl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njtLWB4n0u9zXWgcuGG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5OLM_PHM0uU3BhG7kqB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YenyE55T06Kdqiw6Faw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abWXAPlZUK_FJvv49kr1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nOTdmLJEESO_KtBSUD0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pL2_oMFvUWz2hTucjl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mam6ehtM0GmR1oW_F0u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oxwB2aIkE.0HQhnrtx5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XPmhRUbm0Gq_J3Ljd82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PuP8eFJrEWF8uoob1LT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JCEQImPaUKKuyq8bsp7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4u31kY9LoUWT0IL1lp.EQ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3uv6uLh_uEC_Pu9kmx7I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BoEu5QzHU.SZnlcZEpZ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qCC3wdGukWf36TVatl0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aOAPgKsLE2qKsuEwlQmr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N.ky6KvxE22cu5lDn.5d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1K_k2NV6UukkFpHbgrMA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3MbVLIw8QEuqBv1HOjg2W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JuuXA3Y.EikeaPVQ_aR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GWNdxSeqkWcOTeQ22_k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r7q.4iZjkOgIWH6Uw8B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wHDIOZlREeDFnERTTtN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hM4nR5.SUi36f3irQ3Hw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230e9df3-be65-4c73-a93b-d1236ebd677e"/>
    <ds:schemaRef ds:uri="http://purl.org/dc/terms/"/>
    <ds:schemaRef ds:uri="http://purl.org/dc/elements/1.1/"/>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284</TotalTime>
  <Words>696</Words>
  <Application>Microsoft Office PowerPoint</Application>
  <PresentationFormat>Custom</PresentationFormat>
  <Paragraphs>240</Paragraphs>
  <Slides>24</Slides>
  <Notes>2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1" baseType="lpstr">
      <vt:lpstr>Arial</vt:lpstr>
      <vt:lpstr>Segoe UI Light</vt:lpstr>
      <vt:lpstr>Segoe UI</vt:lpstr>
      <vt:lpstr>Consolas</vt:lpstr>
      <vt:lpstr>MS1444_Windows Azure Template 16x9_r08a</vt:lpstr>
      <vt:lpstr>White with Consolas font for code slides</vt:lpstr>
      <vt:lpstr>think-cell Slide</vt:lpstr>
      <vt:lpstr>Building and Running HPC Apps in Windows Azure</vt:lpstr>
      <vt:lpstr>Agenda</vt:lpstr>
      <vt:lpstr>What’s the  Problem?</vt:lpstr>
      <vt:lpstr>How Does Azure Extend High Performance Computing to the Masses?</vt:lpstr>
      <vt:lpstr>Example Workloads That Need a Cluster</vt:lpstr>
      <vt:lpstr>Embarrassingly Parallel Apps An illustration</vt:lpstr>
      <vt:lpstr>Tightly Coupled App (MPI) An illustration</vt:lpstr>
      <vt:lpstr>IO Intensive Applications An illustration</vt:lpstr>
      <vt:lpstr>HPC Server Makes This Easy</vt:lpstr>
      <vt:lpstr>HPC Server Components</vt:lpstr>
      <vt:lpstr>Components in HPC SDK for Windows Azure</vt:lpstr>
      <vt:lpstr>Digital Rendering on Windows Azure</vt:lpstr>
      <vt:lpstr>Windows Azure Scheduler In Action</vt:lpstr>
      <vt:lpstr>Building a Scheduler Enabled Deployment</vt:lpstr>
      <vt:lpstr>Using Visual Studio and Helper Scripts to Build a Rendering Farm</vt:lpstr>
      <vt:lpstr>Behind the Scenes  of the Rendering</vt:lpstr>
      <vt:lpstr>Deploying Using  Powershell</vt:lpstr>
      <vt:lpstr>Windows Azure HPC Scheduler – What is it?</vt:lpstr>
      <vt:lpstr>Benefits to Developers – Why?</vt:lpstr>
      <vt:lpstr>Benefits to Developers – Why?</vt:lpstr>
      <vt:lpstr>PowerPoint Presentation</vt:lpstr>
      <vt:lpstr>PowerPoint Present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nd Running HPC Apps in Windows Azure</dc:title>
  <dc:subject>Windows Azure</dc:subject>
  <dc:creator>Greg Flowers</dc:creator>
  <cp:lastModifiedBy>Wenwen</cp:lastModifiedBy>
  <cp:revision>279</cp:revision>
  <cp:lastPrinted>2011-10-11T14:25:22Z</cp:lastPrinted>
  <dcterms:created xsi:type="dcterms:W3CDTF">2011-03-29T16:07:22Z</dcterms:created>
  <dcterms:modified xsi:type="dcterms:W3CDTF">2011-12-10T22:3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